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01" r:id="rId5"/>
  </p:sldMasterIdLst>
  <p:notesMasterIdLst>
    <p:notesMasterId r:id="rId7"/>
  </p:notesMasterIdLst>
  <p:sldIdLst>
    <p:sldId id="134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9B0CC50-16E2-8D7E-4E48-D78D085ED538}" name="Swiatocha, Andrea" initials="SA" userId="S::andrea.swiatocha@hq.doe.gov::c77ff5c5-b197-4564-afa3-d64633d46e12" providerId="AD"/>
  <p188:author id="{D59CB051-F853-D36E-0321-FF396D4D7BA6}" name="Petty, Samuel" initials="PS" userId="S::Samuel.Petty@ee.doe.gov::d178a39d-1cb7-48ea-907f-a8b70e6cb6f1" providerId="AD"/>
  <p188:author id="{D00B5765-ADC6-A65C-7DD2-BE926862F1B6}" name="Zaleski, Sarah" initials="ZS" userId="S::Sarah.Zaleski@EE.Doe.Gov::d03f4e59-0e93-4348-afea-cd8401115e71" providerId="AD"/>
  <p188:author id="{20385983-9FED-2942-5E7B-322CB7A88637}" name="Zaleski, Sarah" initials="ZS" userId="S::sarah.zaleski@hq.doe.gov::d03f4e59-0e93-4348-afea-cd8401115e71" providerId="AD"/>
  <p188:author id="{3AF5CED2-E178-7FD4-DEC7-ACA4172A3BA7}" name="Swift, Annabelle (FELLOW)" initials="S(" userId="S::annabelle.swift@hq.doe.gov::346e4125-ea60-43ff-95de-77a07fafaa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tterberg, Johanna" initials="ZJ" lastIdx="2" clrIdx="0">
    <p:extLst>
      <p:ext uri="{19B8F6BF-5375-455C-9EA6-DF929625EA0E}">
        <p15:presenceInfo xmlns:p15="http://schemas.microsoft.com/office/powerpoint/2012/main" userId="S::johanna.zetterberg@hq.doe.gov::0b4a8325-1296-4227-b323-8795d0b38a38" providerId="AD"/>
      </p:ext>
    </p:extLst>
  </p:cmAuthor>
  <p:cmAuthor id="2" name="FOA Webinar" initials="FW" lastIdx="18" clrIdx="1">
    <p:extLst>
      <p:ext uri="{19B8F6BF-5375-455C-9EA6-DF929625EA0E}">
        <p15:presenceInfo xmlns:p15="http://schemas.microsoft.com/office/powerpoint/2012/main" userId="FOA Webinar" providerId="None"/>
      </p:ext>
    </p:extLst>
  </p:cmAuthor>
  <p:cmAuthor id="3" name="Swiatocha, Andrea" initials="SA" lastIdx="5" clrIdx="2">
    <p:extLst>
      <p:ext uri="{19B8F6BF-5375-455C-9EA6-DF929625EA0E}">
        <p15:presenceInfo xmlns:p15="http://schemas.microsoft.com/office/powerpoint/2012/main" userId="S::andrea.swiatocha@hq.doe.gov::c77ff5c5-b197-4564-afa3-d64633d46e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69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72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&#65279;<?xml version="1.0" encoding="utf-8"?><Relationships xmlns="http://schemas.openxmlformats.org/package/2006/relationships"><Relationship Type="http://schemas.openxmlformats.org/officeDocument/2006/relationships/commentAuthors" Target="commentAuthors.xml" Id="rId8" /><Relationship Type="http://schemas.openxmlformats.org/officeDocument/2006/relationships/customXml" Target="../customXml/item3.xml" Id="rId3" /><Relationship Type="http://schemas.openxmlformats.org/officeDocument/2006/relationships/notesMaster" Target="notesMasters/notesMaster1.xml" Id="rId7" /><Relationship Type="http://schemas.openxmlformats.org/officeDocument/2006/relationships/tableStyles" Target="tableStyles.xml" Id="rId12" /><Relationship Type="http://schemas.openxmlformats.org/officeDocument/2006/relationships/customXml" Target="../customXml/item2.xml" Id="rId2" /><Relationship Type="http://schemas.openxmlformats.org/officeDocument/2006/relationships/customXml" Target="../customXml/item1.xml" Id="rId1" /><Relationship Type="http://schemas.openxmlformats.org/officeDocument/2006/relationships/slide" Target="slides/slide1.xml" Id="rId6" /><Relationship Type="http://schemas.openxmlformats.org/officeDocument/2006/relationships/theme" Target="theme/theme1.xml" Id="rId11" /><Relationship Type="http://schemas.openxmlformats.org/officeDocument/2006/relationships/slideMaster" Target="slideMasters/slideMaster2.xml" Id="rId5" /><Relationship Type="http://schemas.openxmlformats.org/officeDocument/2006/relationships/viewProps" Target="viewProps.xml" Id="rId10" /><Relationship Type="http://schemas.openxmlformats.org/officeDocument/2006/relationships/slideMaster" Target="slideMasters/slideMaster1.xml" Id="rId4" /><Relationship Type="http://schemas.openxmlformats.org/officeDocument/2006/relationships/presProps" Target="presProps.xml" Id="rId9" /><Relationship Type="http://schemas.microsoft.com/office/2018/10/relationships/authors" Target="authors.xml" Id="rId14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B90907-C9F2-41C2-8A2A-AD3419477F19}" type="datetimeFigureOut">
              <a:rPr lang="en-US" smtClean="0"/>
              <a:t>3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66A37D-2343-4409-A6FE-2F66D1E6EB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286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146175"/>
            <a:ext cx="10363200" cy="6858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828800"/>
            <a:ext cx="10363200" cy="4730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629401"/>
            <a:ext cx="2540000" cy="2254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pitchFamily="-107" charset="-128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79C1"/>
              </a:solidFill>
            </a:endParaRP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9833" y="6629400"/>
            <a:ext cx="38608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pitchFamily="-107" charset="-128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79C1"/>
              </a:solidFill>
            </a:endParaRP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12200" y="6629400"/>
            <a:ext cx="2565400" cy="2286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ＭＳ Ｐゴシック" pitchFamily="-107" charset="-128"/>
                <a:cs typeface="+mn-cs"/>
              </a:defRPr>
            </a:lvl1pPr>
          </a:lstStyle>
          <a:p>
            <a:pPr>
              <a:defRPr/>
            </a:pPr>
            <a:fld id="{B8D7AB61-6937-4536-B7F0-681114A2DFB5}" type="slidenum">
              <a:rPr lang="en-US">
                <a:solidFill>
                  <a:srgbClr val="0079C1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79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079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2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0EBDC47-9A32-FA0B-49AB-05245CE0D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D2A472-31EA-1BB8-E230-5318B9313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0484" y="6528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69282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500025" y="1677981"/>
            <a:ext cx="5506328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 baseline="0"/>
            </a:lvl1pPr>
            <a:lvl2pPr>
              <a:buSzPct val="80000"/>
              <a:buFont typeface="Courier New" pitchFamily="49" charset="0"/>
              <a:buChar char="o"/>
              <a:defRPr lang="en-US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6317129" y="1677981"/>
            <a:ext cx="5665695" cy="4267200"/>
          </a:xfrm>
          <a:prstGeom prst="rect">
            <a:avLst/>
          </a:prstGeom>
        </p:spPr>
        <p:txBody>
          <a:bodyPr/>
          <a:lstStyle>
            <a:lvl1pPr marL="182880" indent="-182880">
              <a:defRPr sz="2200" b="0"/>
            </a:lvl1pPr>
            <a:lvl2pPr>
              <a:buSzPct val="80000"/>
              <a:buFont typeface="Courier New" pitchFamily="49" charset="0"/>
              <a:buChar char="o"/>
              <a:defRPr sz="2200"/>
            </a:lvl2pPr>
            <a:lvl3pPr>
              <a:buFont typeface="Calibri" pitchFamily="34" charset="0"/>
              <a:buChar char="–"/>
              <a:defRPr sz="2000"/>
            </a:lvl3pPr>
            <a:lvl4pPr>
              <a:buFont typeface="Wingdings" pitchFamily="2" charset="2"/>
              <a:buChar char="§"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00025" y="1068381"/>
            <a:ext cx="5496368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317129" y="1068381"/>
            <a:ext cx="5665695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C49A791E-80FB-BF76-2368-818ABD3220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0484" y="6528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3791169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87700" y="1045595"/>
            <a:ext cx="10100613" cy="524464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980191D-ABAE-D771-E354-6486A85471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0484" y="6528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61693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389457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4866383-B2A9-A969-7C6D-F76ACB1F37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0484" y="6528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0154BB7-116B-42F9-82BE-AA33A339DB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991878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397CF02B-3A3C-4749-8399-E7AF8DB77D7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7950" y="1065321"/>
            <a:ext cx="5386206" cy="5273336"/>
          </a:xfrm>
          <a:custGeom>
            <a:avLst/>
            <a:gdLst>
              <a:gd name="connsiteX0" fmla="*/ 3440072 w 6100546"/>
              <a:gd name="connsiteY0" fmla="*/ 5547377 h 5950684"/>
              <a:gd name="connsiteX1" fmla="*/ 3363812 w 6100546"/>
              <a:gd name="connsiteY1" fmla="*/ 5559287 h 5950684"/>
              <a:gd name="connsiteX2" fmla="*/ 3377168 w 6100546"/>
              <a:gd name="connsiteY2" fmla="*/ 5558242 h 5950684"/>
              <a:gd name="connsiteX3" fmla="*/ 3413942 w 6100546"/>
              <a:gd name="connsiteY3" fmla="*/ 5552485 h 5950684"/>
              <a:gd name="connsiteX4" fmla="*/ 3588125 w 6100546"/>
              <a:gd name="connsiteY4" fmla="*/ 5518269 h 5950684"/>
              <a:gd name="connsiteX5" fmla="*/ 3546342 w 6100546"/>
              <a:gd name="connsiteY5" fmla="*/ 5527177 h 5950684"/>
              <a:gd name="connsiteX6" fmla="*/ 3552690 w 6100546"/>
              <a:gd name="connsiteY6" fmla="*/ 5526002 h 5950684"/>
              <a:gd name="connsiteX7" fmla="*/ 3579893 w 6100546"/>
              <a:gd name="connsiteY7" fmla="*/ 5520676 h 5950684"/>
              <a:gd name="connsiteX8" fmla="*/ 3658875 w 6100546"/>
              <a:gd name="connsiteY8" fmla="*/ 5502208 h 5950684"/>
              <a:gd name="connsiteX9" fmla="*/ 3652394 w 6100546"/>
              <a:gd name="connsiteY9" fmla="*/ 5503968 h 5950684"/>
              <a:gd name="connsiteX10" fmla="*/ 3656318 w 6100546"/>
              <a:gd name="connsiteY10" fmla="*/ 5505276 h 5950684"/>
              <a:gd name="connsiteX11" fmla="*/ 2933221 w 6100546"/>
              <a:gd name="connsiteY11" fmla="*/ 5496065 h 5950684"/>
              <a:gd name="connsiteX12" fmla="*/ 2937825 w 6100546"/>
              <a:gd name="connsiteY12" fmla="*/ 5496065 h 5950684"/>
              <a:gd name="connsiteX13" fmla="*/ 2942431 w 6100546"/>
              <a:gd name="connsiteY13" fmla="*/ 5496065 h 5950684"/>
              <a:gd name="connsiteX14" fmla="*/ 2960854 w 6100546"/>
              <a:gd name="connsiteY14" fmla="*/ 5496065 h 5950684"/>
              <a:gd name="connsiteX15" fmla="*/ 2970714 w 6100546"/>
              <a:gd name="connsiteY15" fmla="*/ 5498530 h 5950684"/>
              <a:gd name="connsiteX16" fmla="*/ 4136082 w 6100546"/>
              <a:gd name="connsiteY16" fmla="*/ 5495297 h 5950684"/>
              <a:gd name="connsiteX17" fmla="*/ 4135314 w 6100546"/>
              <a:gd name="connsiteY17" fmla="*/ 5496065 h 5950684"/>
              <a:gd name="connsiteX18" fmla="*/ 4130708 w 6100546"/>
              <a:gd name="connsiteY18" fmla="*/ 5496065 h 5950684"/>
              <a:gd name="connsiteX19" fmla="*/ 3223380 w 6100546"/>
              <a:gd name="connsiteY19" fmla="*/ 5491459 h 5950684"/>
              <a:gd name="connsiteX20" fmla="*/ 3223380 w 6100546"/>
              <a:gd name="connsiteY20" fmla="*/ 5494475 h 5950684"/>
              <a:gd name="connsiteX21" fmla="*/ 3230007 w 6100546"/>
              <a:gd name="connsiteY21" fmla="*/ 5494044 h 5950684"/>
              <a:gd name="connsiteX22" fmla="*/ 3232592 w 6100546"/>
              <a:gd name="connsiteY22" fmla="*/ 5491459 h 5950684"/>
              <a:gd name="connsiteX23" fmla="*/ 3223380 w 6100546"/>
              <a:gd name="connsiteY23" fmla="*/ 5491459 h 5950684"/>
              <a:gd name="connsiteX24" fmla="*/ 2531376 w 6100546"/>
              <a:gd name="connsiteY24" fmla="*/ 5422374 h 5950684"/>
              <a:gd name="connsiteX25" fmla="*/ 2538665 w 6100546"/>
              <a:gd name="connsiteY25" fmla="*/ 5442265 h 5950684"/>
              <a:gd name="connsiteX26" fmla="*/ 2566301 w 6100546"/>
              <a:gd name="connsiteY26" fmla="*/ 5453081 h 5950684"/>
              <a:gd name="connsiteX27" fmla="*/ 2827948 w 6100546"/>
              <a:gd name="connsiteY27" fmla="*/ 5488225 h 5950684"/>
              <a:gd name="connsiteX28" fmla="*/ 2854171 w 6100546"/>
              <a:gd name="connsiteY28" fmla="*/ 5490535 h 5950684"/>
              <a:gd name="connsiteX29" fmla="*/ 2858233 w 6100546"/>
              <a:gd name="connsiteY29" fmla="*/ 5490092 h 5950684"/>
              <a:gd name="connsiteX30" fmla="*/ 2900980 w 6100546"/>
              <a:gd name="connsiteY30" fmla="*/ 5486854 h 5950684"/>
              <a:gd name="connsiteX31" fmla="*/ 2905585 w 6100546"/>
              <a:gd name="connsiteY31" fmla="*/ 5486853 h 5950684"/>
              <a:gd name="connsiteX32" fmla="*/ 2924007 w 6100546"/>
              <a:gd name="connsiteY32" fmla="*/ 5491459 h 5950684"/>
              <a:gd name="connsiteX33" fmla="*/ 2924008 w 6100546"/>
              <a:gd name="connsiteY33" fmla="*/ 5496065 h 5950684"/>
              <a:gd name="connsiteX34" fmla="*/ 2924008 w 6100546"/>
              <a:gd name="connsiteY34" fmla="*/ 5496688 h 5950684"/>
              <a:gd name="connsiteX35" fmla="*/ 2959343 w 6100546"/>
              <a:gd name="connsiteY35" fmla="*/ 5499801 h 5950684"/>
              <a:gd name="connsiteX36" fmla="*/ 2977597 w 6100546"/>
              <a:gd name="connsiteY36" fmla="*/ 5500251 h 5950684"/>
              <a:gd name="connsiteX37" fmla="*/ 2970714 w 6100546"/>
              <a:gd name="connsiteY37" fmla="*/ 5498530 h 5950684"/>
              <a:gd name="connsiteX38" fmla="*/ 3008432 w 6100546"/>
              <a:gd name="connsiteY38" fmla="*/ 5501009 h 5950684"/>
              <a:gd name="connsiteX39" fmla="*/ 3047338 w 6100546"/>
              <a:gd name="connsiteY39" fmla="*/ 5501967 h 5950684"/>
              <a:gd name="connsiteX40" fmla="*/ 3062253 w 6100546"/>
              <a:gd name="connsiteY40" fmla="*/ 5501318 h 5950684"/>
              <a:gd name="connsiteX41" fmla="*/ 3080603 w 6100546"/>
              <a:gd name="connsiteY41" fmla="*/ 5500671 h 5950684"/>
              <a:gd name="connsiteX42" fmla="*/ 3085209 w 6100546"/>
              <a:gd name="connsiteY42" fmla="*/ 5500671 h 5950684"/>
              <a:gd name="connsiteX43" fmla="*/ 3134391 w 6100546"/>
              <a:gd name="connsiteY43" fmla="*/ 5500261 h 5950684"/>
              <a:gd name="connsiteX44" fmla="*/ 3198926 w 6100546"/>
              <a:gd name="connsiteY44" fmla="*/ 5496065 h 5950684"/>
              <a:gd name="connsiteX45" fmla="*/ 3185599 w 6100546"/>
              <a:gd name="connsiteY45" fmla="*/ 5496065 h 5950684"/>
              <a:gd name="connsiteX46" fmla="*/ 3085209 w 6100546"/>
              <a:gd name="connsiteY46" fmla="*/ 5496065 h 5950684"/>
              <a:gd name="connsiteX47" fmla="*/ 3080603 w 6100546"/>
              <a:gd name="connsiteY47" fmla="*/ 5486854 h 5950684"/>
              <a:gd name="connsiteX48" fmla="*/ 3075997 w 6100546"/>
              <a:gd name="connsiteY48" fmla="*/ 5486854 h 5950684"/>
              <a:gd name="connsiteX49" fmla="*/ 3075997 w 6100546"/>
              <a:gd name="connsiteY49" fmla="*/ 5491459 h 5950684"/>
              <a:gd name="connsiteX50" fmla="*/ 2979277 w 6100546"/>
              <a:gd name="connsiteY50" fmla="*/ 5491459 h 5950684"/>
              <a:gd name="connsiteX51" fmla="*/ 2979277 w 6100546"/>
              <a:gd name="connsiteY51" fmla="*/ 5496065 h 5950684"/>
              <a:gd name="connsiteX52" fmla="*/ 2960854 w 6100546"/>
              <a:gd name="connsiteY52" fmla="*/ 5491458 h 5950684"/>
              <a:gd name="connsiteX53" fmla="*/ 2951643 w 6100546"/>
              <a:gd name="connsiteY53" fmla="*/ 5491459 h 5950684"/>
              <a:gd name="connsiteX54" fmla="*/ 2956248 w 6100546"/>
              <a:gd name="connsiteY54" fmla="*/ 5473037 h 5950684"/>
              <a:gd name="connsiteX55" fmla="*/ 2974671 w 6100546"/>
              <a:gd name="connsiteY55" fmla="*/ 5473037 h 5950684"/>
              <a:gd name="connsiteX56" fmla="*/ 3002307 w 6100546"/>
              <a:gd name="connsiteY56" fmla="*/ 5473037 h 5950684"/>
              <a:gd name="connsiteX57" fmla="*/ 3006911 w 6100546"/>
              <a:gd name="connsiteY57" fmla="*/ 5473037 h 5950684"/>
              <a:gd name="connsiteX58" fmla="*/ 3011517 w 6100546"/>
              <a:gd name="connsiteY58" fmla="*/ 5473037 h 5950684"/>
              <a:gd name="connsiteX59" fmla="*/ 3020729 w 6100546"/>
              <a:gd name="connsiteY59" fmla="*/ 5473037 h 5950684"/>
              <a:gd name="connsiteX60" fmla="*/ 3025334 w 6100546"/>
              <a:gd name="connsiteY60" fmla="*/ 5473037 h 5950684"/>
              <a:gd name="connsiteX61" fmla="*/ 3024589 w 6100546"/>
              <a:gd name="connsiteY61" fmla="*/ 5472291 h 5950684"/>
              <a:gd name="connsiteX62" fmla="*/ 2937155 w 6100546"/>
              <a:gd name="connsiteY62" fmla="*/ 5469531 h 5950684"/>
              <a:gd name="connsiteX63" fmla="*/ 2924028 w 6100546"/>
              <a:gd name="connsiteY63" fmla="*/ 5468451 h 5950684"/>
              <a:gd name="connsiteX64" fmla="*/ 2928614 w 6100546"/>
              <a:gd name="connsiteY64" fmla="*/ 5473037 h 5950684"/>
              <a:gd name="connsiteX65" fmla="*/ 2947037 w 6100546"/>
              <a:gd name="connsiteY65" fmla="*/ 5473037 h 5950684"/>
              <a:gd name="connsiteX66" fmla="*/ 2937825 w 6100546"/>
              <a:gd name="connsiteY66" fmla="*/ 5491459 h 5950684"/>
              <a:gd name="connsiteX67" fmla="*/ 2928614 w 6100546"/>
              <a:gd name="connsiteY67" fmla="*/ 5491459 h 5950684"/>
              <a:gd name="connsiteX68" fmla="*/ 2924007 w 6100546"/>
              <a:gd name="connsiteY68" fmla="*/ 5491459 h 5950684"/>
              <a:gd name="connsiteX69" fmla="*/ 2928614 w 6100546"/>
              <a:gd name="connsiteY69" fmla="*/ 5486854 h 5950684"/>
              <a:gd name="connsiteX70" fmla="*/ 2924008 w 6100546"/>
              <a:gd name="connsiteY70" fmla="*/ 5482248 h 5950684"/>
              <a:gd name="connsiteX71" fmla="*/ 2914797 w 6100546"/>
              <a:gd name="connsiteY71" fmla="*/ 5486854 h 5950684"/>
              <a:gd name="connsiteX72" fmla="*/ 2910191 w 6100546"/>
              <a:gd name="connsiteY72" fmla="*/ 5486854 h 5950684"/>
              <a:gd name="connsiteX73" fmla="*/ 2891768 w 6100546"/>
              <a:gd name="connsiteY73" fmla="*/ 5482248 h 5950684"/>
              <a:gd name="connsiteX74" fmla="*/ 2882557 w 6100546"/>
              <a:gd name="connsiteY74" fmla="*/ 5473037 h 5950684"/>
              <a:gd name="connsiteX75" fmla="*/ 2850318 w 6100546"/>
              <a:gd name="connsiteY75" fmla="*/ 5468431 h 5950684"/>
              <a:gd name="connsiteX76" fmla="*/ 2845711 w 6100546"/>
              <a:gd name="connsiteY76" fmla="*/ 5477642 h 5950684"/>
              <a:gd name="connsiteX77" fmla="*/ 2841105 w 6100546"/>
              <a:gd name="connsiteY77" fmla="*/ 5468431 h 5950684"/>
              <a:gd name="connsiteX78" fmla="*/ 2813471 w 6100546"/>
              <a:gd name="connsiteY78" fmla="*/ 5473037 h 5950684"/>
              <a:gd name="connsiteX79" fmla="*/ 2781231 w 6100546"/>
              <a:gd name="connsiteY79" fmla="*/ 5468431 h 5950684"/>
              <a:gd name="connsiteX80" fmla="*/ 2776625 w 6100546"/>
              <a:gd name="connsiteY80" fmla="*/ 5468431 h 5950684"/>
              <a:gd name="connsiteX81" fmla="*/ 2762808 w 6100546"/>
              <a:gd name="connsiteY81" fmla="*/ 5459219 h 5950684"/>
              <a:gd name="connsiteX82" fmla="*/ 2725962 w 6100546"/>
              <a:gd name="connsiteY82" fmla="*/ 5463825 h 5950684"/>
              <a:gd name="connsiteX83" fmla="*/ 2689116 w 6100546"/>
              <a:gd name="connsiteY83" fmla="*/ 5454614 h 5950684"/>
              <a:gd name="connsiteX84" fmla="*/ 2670694 w 6100546"/>
              <a:gd name="connsiteY84" fmla="*/ 5450008 h 5950684"/>
              <a:gd name="connsiteX85" fmla="*/ 2647665 w 6100546"/>
              <a:gd name="connsiteY85" fmla="*/ 5436191 h 5950684"/>
              <a:gd name="connsiteX86" fmla="*/ 2555550 w 6100546"/>
              <a:gd name="connsiteY86" fmla="*/ 5422374 h 5950684"/>
              <a:gd name="connsiteX87" fmla="*/ 2537128 w 6100546"/>
              <a:gd name="connsiteY87" fmla="*/ 5422374 h 5950684"/>
              <a:gd name="connsiteX88" fmla="*/ 4476137 w 6100546"/>
              <a:gd name="connsiteY88" fmla="*/ 5233540 h 5950684"/>
              <a:gd name="connsiteX89" fmla="*/ 4480743 w 6100546"/>
              <a:gd name="connsiteY89" fmla="*/ 5233540 h 5950684"/>
              <a:gd name="connsiteX90" fmla="*/ 4476137 w 6100546"/>
              <a:gd name="connsiteY90" fmla="*/ 5235582 h 5950684"/>
              <a:gd name="connsiteX91" fmla="*/ 4849201 w 6100546"/>
              <a:gd name="connsiteY91" fmla="*/ 4772971 h 5950684"/>
              <a:gd name="connsiteX92" fmla="*/ 4849394 w 6100546"/>
              <a:gd name="connsiteY92" fmla="*/ 4772971 h 5950684"/>
              <a:gd name="connsiteX93" fmla="*/ 4844595 w 6100546"/>
              <a:gd name="connsiteY93" fmla="*/ 4777577 h 5950684"/>
              <a:gd name="connsiteX94" fmla="*/ 4849201 w 6100546"/>
              <a:gd name="connsiteY94" fmla="*/ 4772971 h 5950684"/>
              <a:gd name="connsiteX95" fmla="*/ 4789327 w 6100546"/>
              <a:gd name="connsiteY95" fmla="*/ 4768227 h 5950684"/>
              <a:gd name="connsiteX96" fmla="*/ 4789327 w 6100546"/>
              <a:gd name="connsiteY96" fmla="*/ 4768365 h 5950684"/>
              <a:gd name="connsiteX97" fmla="*/ 4784721 w 6100546"/>
              <a:gd name="connsiteY97" fmla="*/ 4772971 h 5950684"/>
              <a:gd name="connsiteX98" fmla="*/ 5116333 w 6100546"/>
              <a:gd name="connsiteY98" fmla="*/ 4519658 h 5950684"/>
              <a:gd name="connsiteX99" fmla="*/ 5097910 w 6100546"/>
              <a:gd name="connsiteY99" fmla="*/ 4533475 h 5950684"/>
              <a:gd name="connsiteX100" fmla="*/ 5102516 w 6100546"/>
              <a:gd name="connsiteY100" fmla="*/ 4542686 h 5950684"/>
              <a:gd name="connsiteX101" fmla="*/ 5074881 w 6100546"/>
              <a:gd name="connsiteY101" fmla="*/ 4570320 h 5950684"/>
              <a:gd name="connsiteX102" fmla="*/ 5084093 w 6100546"/>
              <a:gd name="connsiteY102" fmla="*/ 4556503 h 5950684"/>
              <a:gd name="connsiteX103" fmla="*/ 5019613 w 6100546"/>
              <a:gd name="connsiteY103" fmla="*/ 4639406 h 5950684"/>
              <a:gd name="connsiteX104" fmla="*/ 4955133 w 6100546"/>
              <a:gd name="connsiteY104" fmla="*/ 4731520 h 5950684"/>
              <a:gd name="connsiteX105" fmla="*/ 4945921 w 6100546"/>
              <a:gd name="connsiteY105" fmla="*/ 4731520 h 5950684"/>
              <a:gd name="connsiteX106" fmla="*/ 4876835 w 6100546"/>
              <a:gd name="connsiteY106" fmla="*/ 4805211 h 5950684"/>
              <a:gd name="connsiteX107" fmla="*/ 4849201 w 6100546"/>
              <a:gd name="connsiteY107" fmla="*/ 4832845 h 5950684"/>
              <a:gd name="connsiteX108" fmla="*/ 4839989 w 6100546"/>
              <a:gd name="connsiteY108" fmla="*/ 4846662 h 5950684"/>
              <a:gd name="connsiteX109" fmla="*/ 4816961 w 6100546"/>
              <a:gd name="connsiteY109" fmla="*/ 4865085 h 5950684"/>
              <a:gd name="connsiteX110" fmla="*/ 4775509 w 6100546"/>
              <a:gd name="connsiteY110" fmla="*/ 4911141 h 5950684"/>
              <a:gd name="connsiteX111" fmla="*/ 4734058 w 6100546"/>
              <a:gd name="connsiteY111" fmla="*/ 4952593 h 5950684"/>
              <a:gd name="connsiteX112" fmla="*/ 4609703 w 6100546"/>
              <a:gd name="connsiteY112" fmla="*/ 5063130 h 5950684"/>
              <a:gd name="connsiteX113" fmla="*/ 4572858 w 6100546"/>
              <a:gd name="connsiteY113" fmla="*/ 5095370 h 5950684"/>
              <a:gd name="connsiteX114" fmla="*/ 4568252 w 6100546"/>
              <a:gd name="connsiteY114" fmla="*/ 5090764 h 5950684"/>
              <a:gd name="connsiteX115" fmla="*/ 4434686 w 6100546"/>
              <a:gd name="connsiteY115" fmla="*/ 5182878 h 5950684"/>
              <a:gd name="connsiteX116" fmla="*/ 4402447 w 6100546"/>
              <a:gd name="connsiteY116" fmla="*/ 5205906 h 5950684"/>
              <a:gd name="connsiteX117" fmla="*/ 4351783 w 6100546"/>
              <a:gd name="connsiteY117" fmla="*/ 5238146 h 5950684"/>
              <a:gd name="connsiteX118" fmla="*/ 4167554 w 6100546"/>
              <a:gd name="connsiteY118" fmla="*/ 5334866 h 5950684"/>
              <a:gd name="connsiteX119" fmla="*/ 4112285 w 6100546"/>
              <a:gd name="connsiteY119" fmla="*/ 5367106 h 5950684"/>
              <a:gd name="connsiteX120" fmla="*/ 4103074 w 6100546"/>
              <a:gd name="connsiteY120" fmla="*/ 5367106 h 5950684"/>
              <a:gd name="connsiteX121" fmla="*/ 4061622 w 6100546"/>
              <a:gd name="connsiteY121" fmla="*/ 5380923 h 5950684"/>
              <a:gd name="connsiteX122" fmla="*/ 4029382 w 6100546"/>
              <a:gd name="connsiteY122" fmla="*/ 5399345 h 5950684"/>
              <a:gd name="connsiteX123" fmla="*/ 3923451 w 6100546"/>
              <a:gd name="connsiteY123" fmla="*/ 5440797 h 5950684"/>
              <a:gd name="connsiteX124" fmla="*/ 3863576 w 6100546"/>
              <a:gd name="connsiteY124" fmla="*/ 5463824 h 5950684"/>
              <a:gd name="connsiteX125" fmla="*/ 3776067 w 6100546"/>
              <a:gd name="connsiteY125" fmla="*/ 5486853 h 5950684"/>
              <a:gd name="connsiteX126" fmla="*/ 3762250 w 6100546"/>
              <a:gd name="connsiteY126" fmla="*/ 5496065 h 5950684"/>
              <a:gd name="connsiteX127" fmla="*/ 3725404 w 6100546"/>
              <a:gd name="connsiteY127" fmla="*/ 5505276 h 5950684"/>
              <a:gd name="connsiteX128" fmla="*/ 3674741 w 6100546"/>
              <a:gd name="connsiteY128" fmla="*/ 5509882 h 5950684"/>
              <a:gd name="connsiteX129" fmla="*/ 3665530 w 6100546"/>
              <a:gd name="connsiteY129" fmla="*/ 5528305 h 5950684"/>
              <a:gd name="connsiteX130" fmla="*/ 3642501 w 6100546"/>
              <a:gd name="connsiteY130" fmla="*/ 5537515 h 5950684"/>
              <a:gd name="connsiteX131" fmla="*/ 3531964 w 6100546"/>
              <a:gd name="connsiteY131" fmla="*/ 5555939 h 5950684"/>
              <a:gd name="connsiteX132" fmla="*/ 3513541 w 6100546"/>
              <a:gd name="connsiteY132" fmla="*/ 5551333 h 5950684"/>
              <a:gd name="connsiteX133" fmla="*/ 3499724 w 6100546"/>
              <a:gd name="connsiteY133" fmla="*/ 5560545 h 5950684"/>
              <a:gd name="connsiteX134" fmla="*/ 3495118 w 6100546"/>
              <a:gd name="connsiteY134" fmla="*/ 5560545 h 5950684"/>
              <a:gd name="connsiteX135" fmla="*/ 3379975 w 6100546"/>
              <a:gd name="connsiteY135" fmla="*/ 5574362 h 5950684"/>
              <a:gd name="connsiteX136" fmla="*/ 3379975 w 6100546"/>
              <a:gd name="connsiteY136" fmla="*/ 5569755 h 5950684"/>
              <a:gd name="connsiteX137" fmla="*/ 3356946 w 6100546"/>
              <a:gd name="connsiteY137" fmla="*/ 5569756 h 5950684"/>
              <a:gd name="connsiteX138" fmla="*/ 3329312 w 6100546"/>
              <a:gd name="connsiteY138" fmla="*/ 5578967 h 5950684"/>
              <a:gd name="connsiteX139" fmla="*/ 3315495 w 6100546"/>
              <a:gd name="connsiteY139" fmla="*/ 5569756 h 5950684"/>
              <a:gd name="connsiteX140" fmla="*/ 3255620 w 6100546"/>
              <a:gd name="connsiteY140" fmla="*/ 5574362 h 5950684"/>
              <a:gd name="connsiteX141" fmla="*/ 3209563 w 6100546"/>
              <a:gd name="connsiteY141" fmla="*/ 5583573 h 5950684"/>
              <a:gd name="connsiteX142" fmla="*/ 3204957 w 6100546"/>
              <a:gd name="connsiteY142" fmla="*/ 5578967 h 5950684"/>
              <a:gd name="connsiteX143" fmla="*/ 3131266 w 6100546"/>
              <a:gd name="connsiteY143" fmla="*/ 5583573 h 5950684"/>
              <a:gd name="connsiteX144" fmla="*/ 3122176 w 6100546"/>
              <a:gd name="connsiteY144" fmla="*/ 5583573 h 5950684"/>
              <a:gd name="connsiteX145" fmla="*/ 3072847 w 6100546"/>
              <a:gd name="connsiteY145" fmla="*/ 5585832 h 5950684"/>
              <a:gd name="connsiteX146" fmla="*/ 3062180 w 6100546"/>
              <a:gd name="connsiteY146" fmla="*/ 5588179 h 5950684"/>
              <a:gd name="connsiteX147" fmla="*/ 3065288 w 6100546"/>
              <a:gd name="connsiteY147" fmla="*/ 5586179 h 5950684"/>
              <a:gd name="connsiteX148" fmla="*/ 3001837 w 6100546"/>
              <a:gd name="connsiteY148" fmla="*/ 5589085 h 5950684"/>
              <a:gd name="connsiteX149" fmla="*/ 2514861 w 6100546"/>
              <a:gd name="connsiteY149" fmla="*/ 5559930 h 5950684"/>
              <a:gd name="connsiteX150" fmla="*/ 2133989 w 6100546"/>
              <a:gd name="connsiteY150" fmla="*/ 5473661 h 5950684"/>
              <a:gd name="connsiteX151" fmla="*/ 2031916 w 6100546"/>
              <a:gd name="connsiteY151" fmla="*/ 5434193 h 5950684"/>
              <a:gd name="connsiteX152" fmla="*/ 2081737 w 6100546"/>
              <a:gd name="connsiteY152" fmla="*/ 5455765 h 5950684"/>
              <a:gd name="connsiteX153" fmla="*/ 2127218 w 6100546"/>
              <a:gd name="connsiteY153" fmla="*/ 5473037 h 5950684"/>
              <a:gd name="connsiteX154" fmla="*/ 2293024 w 6100546"/>
              <a:gd name="connsiteY154" fmla="*/ 5542122 h 5950684"/>
              <a:gd name="connsiteX155" fmla="*/ 2421984 w 6100546"/>
              <a:gd name="connsiteY155" fmla="*/ 5574362 h 5950684"/>
              <a:gd name="connsiteX156" fmla="*/ 2509493 w 6100546"/>
              <a:gd name="connsiteY156" fmla="*/ 5597390 h 5950684"/>
              <a:gd name="connsiteX157" fmla="*/ 2615425 w 6100546"/>
              <a:gd name="connsiteY157" fmla="*/ 5629630 h 5950684"/>
              <a:gd name="connsiteX158" fmla="*/ 2721356 w 6100546"/>
              <a:gd name="connsiteY158" fmla="*/ 5661870 h 5950684"/>
              <a:gd name="connsiteX159" fmla="*/ 2762809 w 6100546"/>
              <a:gd name="connsiteY159" fmla="*/ 5671081 h 5950684"/>
              <a:gd name="connsiteX160" fmla="*/ 2831894 w 6100546"/>
              <a:gd name="connsiteY160" fmla="*/ 5680293 h 5950684"/>
              <a:gd name="connsiteX161" fmla="*/ 2850317 w 6100546"/>
              <a:gd name="connsiteY161" fmla="*/ 5680292 h 5950684"/>
              <a:gd name="connsiteX162" fmla="*/ 2924008 w 6100546"/>
              <a:gd name="connsiteY162" fmla="*/ 5694110 h 5950684"/>
              <a:gd name="connsiteX163" fmla="*/ 2928614 w 6100546"/>
              <a:gd name="connsiteY163" fmla="*/ 5694110 h 5950684"/>
              <a:gd name="connsiteX164" fmla="*/ 2928614 w 6100546"/>
              <a:gd name="connsiteY164" fmla="*/ 5698715 h 5950684"/>
              <a:gd name="connsiteX165" fmla="*/ 2937825 w 6100546"/>
              <a:gd name="connsiteY165" fmla="*/ 5698715 h 5950684"/>
              <a:gd name="connsiteX166" fmla="*/ 2937825 w 6100546"/>
              <a:gd name="connsiteY166" fmla="*/ 5694109 h 5950684"/>
              <a:gd name="connsiteX167" fmla="*/ 2933220 w 6100546"/>
              <a:gd name="connsiteY167" fmla="*/ 5694110 h 5950684"/>
              <a:gd name="connsiteX168" fmla="*/ 2956248 w 6100546"/>
              <a:gd name="connsiteY168" fmla="*/ 5689504 h 5950684"/>
              <a:gd name="connsiteX169" fmla="*/ 3195746 w 6100546"/>
              <a:gd name="connsiteY169" fmla="*/ 5698714 h 5950684"/>
              <a:gd name="connsiteX170" fmla="*/ 3287860 w 6100546"/>
              <a:gd name="connsiteY170" fmla="*/ 5694110 h 5950684"/>
              <a:gd name="connsiteX171" fmla="*/ 3444455 w 6100546"/>
              <a:gd name="connsiteY171" fmla="*/ 5675687 h 5950684"/>
              <a:gd name="connsiteX172" fmla="*/ 3605655 w 6100546"/>
              <a:gd name="connsiteY172" fmla="*/ 5648053 h 5950684"/>
              <a:gd name="connsiteX173" fmla="*/ 3702376 w 6100546"/>
              <a:gd name="connsiteY173" fmla="*/ 5629630 h 5950684"/>
              <a:gd name="connsiteX174" fmla="*/ 3734617 w 6100546"/>
              <a:gd name="connsiteY174" fmla="*/ 5625024 h 5950684"/>
              <a:gd name="connsiteX175" fmla="*/ 3799096 w 6100546"/>
              <a:gd name="connsiteY175" fmla="*/ 5606602 h 5950684"/>
              <a:gd name="connsiteX176" fmla="*/ 3799096 w 6100546"/>
              <a:gd name="connsiteY176" fmla="*/ 5611207 h 5950684"/>
              <a:gd name="connsiteX177" fmla="*/ 3803702 w 6100546"/>
              <a:gd name="connsiteY177" fmla="*/ 5611207 h 5950684"/>
              <a:gd name="connsiteX178" fmla="*/ 3812913 w 6100546"/>
              <a:gd name="connsiteY178" fmla="*/ 5611207 h 5950684"/>
              <a:gd name="connsiteX179" fmla="*/ 3817519 w 6100546"/>
              <a:gd name="connsiteY179" fmla="*/ 5606602 h 5950684"/>
              <a:gd name="connsiteX180" fmla="*/ 3826730 w 6100546"/>
              <a:gd name="connsiteY180" fmla="*/ 5611207 h 5950684"/>
              <a:gd name="connsiteX181" fmla="*/ 3826730 w 6100546"/>
              <a:gd name="connsiteY181" fmla="*/ 5601996 h 5950684"/>
              <a:gd name="connsiteX182" fmla="*/ 3831336 w 6100546"/>
              <a:gd name="connsiteY182" fmla="*/ 5601996 h 5950684"/>
              <a:gd name="connsiteX183" fmla="*/ 3840547 w 6100546"/>
              <a:gd name="connsiteY183" fmla="*/ 5597390 h 5950684"/>
              <a:gd name="connsiteX184" fmla="*/ 3831336 w 6100546"/>
              <a:gd name="connsiteY184" fmla="*/ 5592785 h 5950684"/>
              <a:gd name="connsiteX185" fmla="*/ 3831336 w 6100546"/>
              <a:gd name="connsiteY185" fmla="*/ 5597390 h 5950684"/>
              <a:gd name="connsiteX186" fmla="*/ 3826730 w 6100546"/>
              <a:gd name="connsiteY186" fmla="*/ 5592785 h 5950684"/>
              <a:gd name="connsiteX187" fmla="*/ 3941873 w 6100546"/>
              <a:gd name="connsiteY187" fmla="*/ 5555939 h 5950684"/>
              <a:gd name="connsiteX188" fmla="*/ 4116891 w 6100546"/>
              <a:gd name="connsiteY188" fmla="*/ 5491458 h 5950684"/>
              <a:gd name="connsiteX189" fmla="*/ 4116891 w 6100546"/>
              <a:gd name="connsiteY189" fmla="*/ 5496065 h 5950684"/>
              <a:gd name="connsiteX190" fmla="*/ 4112285 w 6100546"/>
              <a:gd name="connsiteY190" fmla="*/ 5496065 h 5950684"/>
              <a:gd name="connsiteX191" fmla="*/ 4107679 w 6100546"/>
              <a:gd name="connsiteY191" fmla="*/ 5505276 h 5950684"/>
              <a:gd name="connsiteX192" fmla="*/ 4116891 w 6100546"/>
              <a:gd name="connsiteY192" fmla="*/ 5500671 h 5950684"/>
              <a:gd name="connsiteX193" fmla="*/ 4126102 w 6100546"/>
              <a:gd name="connsiteY193" fmla="*/ 5496065 h 5950684"/>
              <a:gd name="connsiteX194" fmla="*/ 4139919 w 6100546"/>
              <a:gd name="connsiteY194" fmla="*/ 5500671 h 5950684"/>
              <a:gd name="connsiteX195" fmla="*/ 4138768 w 6100546"/>
              <a:gd name="connsiteY195" fmla="*/ 5494913 h 5950684"/>
              <a:gd name="connsiteX196" fmla="*/ 4136082 w 6100546"/>
              <a:gd name="connsiteY196" fmla="*/ 5495297 h 5950684"/>
              <a:gd name="connsiteX197" fmla="*/ 4144525 w 6100546"/>
              <a:gd name="connsiteY197" fmla="*/ 5486853 h 5950684"/>
              <a:gd name="connsiteX198" fmla="*/ 4130708 w 6100546"/>
              <a:gd name="connsiteY198" fmla="*/ 5486854 h 5950684"/>
              <a:gd name="connsiteX199" fmla="*/ 4176765 w 6100546"/>
              <a:gd name="connsiteY199" fmla="*/ 5454614 h 5950684"/>
              <a:gd name="connsiteX200" fmla="*/ 4181371 w 6100546"/>
              <a:gd name="connsiteY200" fmla="*/ 5459219 h 5950684"/>
              <a:gd name="connsiteX201" fmla="*/ 4241245 w 6100546"/>
              <a:gd name="connsiteY201" fmla="*/ 5422374 h 5950684"/>
              <a:gd name="connsiteX202" fmla="*/ 4236640 w 6100546"/>
              <a:gd name="connsiteY202" fmla="*/ 5426980 h 5950684"/>
              <a:gd name="connsiteX203" fmla="*/ 4305725 w 6100546"/>
              <a:gd name="connsiteY203" fmla="*/ 5394740 h 5950684"/>
              <a:gd name="connsiteX204" fmla="*/ 4310331 w 6100546"/>
              <a:gd name="connsiteY204" fmla="*/ 5390134 h 5950684"/>
              <a:gd name="connsiteX205" fmla="*/ 4291908 w 6100546"/>
              <a:gd name="connsiteY205" fmla="*/ 5390134 h 5950684"/>
              <a:gd name="connsiteX206" fmla="*/ 4337965 w 6100546"/>
              <a:gd name="connsiteY206" fmla="*/ 5362500 h 5950684"/>
              <a:gd name="connsiteX207" fmla="*/ 4347177 w 6100546"/>
              <a:gd name="connsiteY207" fmla="*/ 5367106 h 5950684"/>
              <a:gd name="connsiteX208" fmla="*/ 4356388 w 6100546"/>
              <a:gd name="connsiteY208" fmla="*/ 5353289 h 5950684"/>
              <a:gd name="connsiteX209" fmla="*/ 4360994 w 6100546"/>
              <a:gd name="connsiteY209" fmla="*/ 5348683 h 5950684"/>
              <a:gd name="connsiteX210" fmla="*/ 4370206 w 6100546"/>
              <a:gd name="connsiteY210" fmla="*/ 5339471 h 5950684"/>
              <a:gd name="connsiteX211" fmla="*/ 4360994 w 6100546"/>
              <a:gd name="connsiteY211" fmla="*/ 5339471 h 5950684"/>
              <a:gd name="connsiteX212" fmla="*/ 4356388 w 6100546"/>
              <a:gd name="connsiteY212" fmla="*/ 5339471 h 5950684"/>
              <a:gd name="connsiteX213" fmla="*/ 4457714 w 6100546"/>
              <a:gd name="connsiteY213" fmla="*/ 5270386 h 5950684"/>
              <a:gd name="connsiteX214" fmla="*/ 4494560 w 6100546"/>
              <a:gd name="connsiteY214" fmla="*/ 5261175 h 5950684"/>
              <a:gd name="connsiteX215" fmla="*/ 4494560 w 6100546"/>
              <a:gd name="connsiteY215" fmla="*/ 5265780 h 5950684"/>
              <a:gd name="connsiteX216" fmla="*/ 4499167 w 6100546"/>
              <a:gd name="connsiteY216" fmla="*/ 5265780 h 5950684"/>
              <a:gd name="connsiteX217" fmla="*/ 4508377 w 6100546"/>
              <a:gd name="connsiteY217" fmla="*/ 5256569 h 5950684"/>
              <a:gd name="connsiteX218" fmla="*/ 4512983 w 6100546"/>
              <a:gd name="connsiteY218" fmla="*/ 5251963 h 5950684"/>
              <a:gd name="connsiteX219" fmla="*/ 4517589 w 6100546"/>
              <a:gd name="connsiteY219" fmla="*/ 5238146 h 5950684"/>
              <a:gd name="connsiteX220" fmla="*/ 4536012 w 6100546"/>
              <a:gd name="connsiteY220" fmla="*/ 5224329 h 5950684"/>
              <a:gd name="connsiteX221" fmla="*/ 4508377 w 6100546"/>
              <a:gd name="connsiteY221" fmla="*/ 5238146 h 5950684"/>
              <a:gd name="connsiteX222" fmla="*/ 4508377 w 6100546"/>
              <a:gd name="connsiteY222" fmla="*/ 5247358 h 5950684"/>
              <a:gd name="connsiteX223" fmla="*/ 4503772 w 6100546"/>
              <a:gd name="connsiteY223" fmla="*/ 5251963 h 5950684"/>
              <a:gd name="connsiteX224" fmla="*/ 4499166 w 6100546"/>
              <a:gd name="connsiteY224" fmla="*/ 5251963 h 5950684"/>
              <a:gd name="connsiteX225" fmla="*/ 4494560 w 6100546"/>
              <a:gd name="connsiteY225" fmla="*/ 5261175 h 5950684"/>
              <a:gd name="connsiteX226" fmla="*/ 4411657 w 6100546"/>
              <a:gd name="connsiteY226" fmla="*/ 5288809 h 5950684"/>
              <a:gd name="connsiteX227" fmla="*/ 4402446 w 6100546"/>
              <a:gd name="connsiteY227" fmla="*/ 5288809 h 5950684"/>
              <a:gd name="connsiteX228" fmla="*/ 4402446 w 6100546"/>
              <a:gd name="connsiteY228" fmla="*/ 5284203 h 5950684"/>
              <a:gd name="connsiteX229" fmla="*/ 4397840 w 6100546"/>
              <a:gd name="connsiteY229" fmla="*/ 5288809 h 5950684"/>
              <a:gd name="connsiteX230" fmla="*/ 4393234 w 6100546"/>
              <a:gd name="connsiteY230" fmla="*/ 5288809 h 5950684"/>
              <a:gd name="connsiteX231" fmla="*/ 4430080 w 6100546"/>
              <a:gd name="connsiteY231" fmla="*/ 5255992 h 5950684"/>
              <a:gd name="connsiteX232" fmla="*/ 4476137 w 6100546"/>
              <a:gd name="connsiteY232" fmla="*/ 5235582 h 5950684"/>
              <a:gd name="connsiteX233" fmla="*/ 4476137 w 6100546"/>
              <a:gd name="connsiteY233" fmla="*/ 5238146 h 5950684"/>
              <a:gd name="connsiteX234" fmla="*/ 4480743 w 6100546"/>
              <a:gd name="connsiteY234" fmla="*/ 5233540 h 5950684"/>
              <a:gd name="connsiteX235" fmla="*/ 4499166 w 6100546"/>
              <a:gd name="connsiteY235" fmla="*/ 5224329 h 5950684"/>
              <a:gd name="connsiteX236" fmla="*/ 4494560 w 6100546"/>
              <a:gd name="connsiteY236" fmla="*/ 5228935 h 5950684"/>
              <a:gd name="connsiteX237" fmla="*/ 4499167 w 6100546"/>
              <a:gd name="connsiteY237" fmla="*/ 5228935 h 5950684"/>
              <a:gd name="connsiteX238" fmla="*/ 4503773 w 6100546"/>
              <a:gd name="connsiteY238" fmla="*/ 5224329 h 5950684"/>
              <a:gd name="connsiteX239" fmla="*/ 4577463 w 6100546"/>
              <a:gd name="connsiteY239" fmla="*/ 5187484 h 5950684"/>
              <a:gd name="connsiteX240" fmla="*/ 4586675 w 6100546"/>
              <a:gd name="connsiteY240" fmla="*/ 5192089 h 5950684"/>
              <a:gd name="connsiteX241" fmla="*/ 4563647 w 6100546"/>
              <a:gd name="connsiteY241" fmla="*/ 5215118 h 5950684"/>
              <a:gd name="connsiteX242" fmla="*/ 4651155 w 6100546"/>
              <a:gd name="connsiteY242" fmla="*/ 5155244 h 5950684"/>
              <a:gd name="connsiteX243" fmla="*/ 4660366 w 6100546"/>
              <a:gd name="connsiteY243" fmla="*/ 5155244 h 5950684"/>
              <a:gd name="connsiteX244" fmla="*/ 4664972 w 6100546"/>
              <a:gd name="connsiteY244" fmla="*/ 5146032 h 5950684"/>
              <a:gd name="connsiteX245" fmla="*/ 4688001 w 6100546"/>
              <a:gd name="connsiteY245" fmla="*/ 5118398 h 5950684"/>
              <a:gd name="connsiteX246" fmla="*/ 4692607 w 6100546"/>
              <a:gd name="connsiteY246" fmla="*/ 5127610 h 5950684"/>
              <a:gd name="connsiteX247" fmla="*/ 4701818 w 6100546"/>
              <a:gd name="connsiteY247" fmla="*/ 5113792 h 5950684"/>
              <a:gd name="connsiteX248" fmla="*/ 4706424 w 6100546"/>
              <a:gd name="connsiteY248" fmla="*/ 5109187 h 5950684"/>
              <a:gd name="connsiteX249" fmla="*/ 4711029 w 6100546"/>
              <a:gd name="connsiteY249" fmla="*/ 5109187 h 5950684"/>
              <a:gd name="connsiteX250" fmla="*/ 4711030 w 6100546"/>
              <a:gd name="connsiteY250" fmla="*/ 5104581 h 5950684"/>
              <a:gd name="connsiteX251" fmla="*/ 4706424 w 6100546"/>
              <a:gd name="connsiteY251" fmla="*/ 5109187 h 5950684"/>
              <a:gd name="connsiteX252" fmla="*/ 4701818 w 6100546"/>
              <a:gd name="connsiteY252" fmla="*/ 5109187 h 5950684"/>
              <a:gd name="connsiteX253" fmla="*/ 4720241 w 6100546"/>
              <a:gd name="connsiteY253" fmla="*/ 5095370 h 5950684"/>
              <a:gd name="connsiteX254" fmla="*/ 4720241 w 6100546"/>
              <a:gd name="connsiteY254" fmla="*/ 5099975 h 5950684"/>
              <a:gd name="connsiteX255" fmla="*/ 4830779 w 6100546"/>
              <a:gd name="connsiteY255" fmla="*/ 4966410 h 5950684"/>
              <a:gd name="connsiteX256" fmla="*/ 4927498 w 6100546"/>
              <a:gd name="connsiteY256" fmla="*/ 4823634 h 5950684"/>
              <a:gd name="connsiteX257" fmla="*/ 4936710 w 6100546"/>
              <a:gd name="connsiteY257" fmla="*/ 4837451 h 5950684"/>
              <a:gd name="connsiteX258" fmla="*/ 4991978 w 6100546"/>
              <a:gd name="connsiteY258" fmla="*/ 4736126 h 5950684"/>
              <a:gd name="connsiteX259" fmla="*/ 5051853 w 6100546"/>
              <a:gd name="connsiteY259" fmla="*/ 4630195 h 5950684"/>
              <a:gd name="connsiteX260" fmla="*/ 5051853 w 6100546"/>
              <a:gd name="connsiteY260" fmla="*/ 4634799 h 5950684"/>
              <a:gd name="connsiteX261" fmla="*/ 5061064 w 6100546"/>
              <a:gd name="connsiteY261" fmla="*/ 4630195 h 5950684"/>
              <a:gd name="connsiteX262" fmla="*/ 5065670 w 6100546"/>
              <a:gd name="connsiteY262" fmla="*/ 4630194 h 5950684"/>
              <a:gd name="connsiteX263" fmla="*/ 5074881 w 6100546"/>
              <a:gd name="connsiteY263" fmla="*/ 4607166 h 5950684"/>
              <a:gd name="connsiteX264" fmla="*/ 5084093 w 6100546"/>
              <a:gd name="connsiteY264" fmla="*/ 4597955 h 5950684"/>
              <a:gd name="connsiteX265" fmla="*/ 5084093 w 6100546"/>
              <a:gd name="connsiteY265" fmla="*/ 4593348 h 5950684"/>
              <a:gd name="connsiteX266" fmla="*/ 5079487 w 6100546"/>
              <a:gd name="connsiteY266" fmla="*/ 4593349 h 5950684"/>
              <a:gd name="connsiteX267" fmla="*/ 5116333 w 6100546"/>
              <a:gd name="connsiteY267" fmla="*/ 4533475 h 5950684"/>
              <a:gd name="connsiteX268" fmla="*/ 5116333 w 6100546"/>
              <a:gd name="connsiteY268" fmla="*/ 4519658 h 5950684"/>
              <a:gd name="connsiteX269" fmla="*/ 5237163 w 6100546"/>
              <a:gd name="connsiteY269" fmla="*/ 4192915 h 5950684"/>
              <a:gd name="connsiteX270" fmla="*/ 5237233 w 6100546"/>
              <a:gd name="connsiteY270" fmla="*/ 4193230 h 5950684"/>
              <a:gd name="connsiteX271" fmla="*/ 5231476 w 6100546"/>
              <a:gd name="connsiteY271" fmla="*/ 4201864 h 5950684"/>
              <a:gd name="connsiteX272" fmla="*/ 5342014 w 6100546"/>
              <a:gd name="connsiteY272" fmla="*/ 4155808 h 5950684"/>
              <a:gd name="connsiteX273" fmla="*/ 5337408 w 6100546"/>
              <a:gd name="connsiteY273" fmla="*/ 4160414 h 5950684"/>
              <a:gd name="connsiteX274" fmla="*/ 5342014 w 6100546"/>
              <a:gd name="connsiteY274" fmla="*/ 4155808 h 5950684"/>
              <a:gd name="connsiteX275" fmla="*/ 5306843 w 6100546"/>
              <a:gd name="connsiteY275" fmla="*/ 4097190 h 5950684"/>
              <a:gd name="connsiteX276" fmla="*/ 5305168 w 6100546"/>
              <a:gd name="connsiteY276" fmla="*/ 4100540 h 5950684"/>
              <a:gd name="connsiteX277" fmla="*/ 5305168 w 6100546"/>
              <a:gd name="connsiteY277" fmla="*/ 4105145 h 5950684"/>
              <a:gd name="connsiteX278" fmla="*/ 5300562 w 6100546"/>
              <a:gd name="connsiteY278" fmla="*/ 4109751 h 5950684"/>
              <a:gd name="connsiteX279" fmla="*/ 5300562 w 6100546"/>
              <a:gd name="connsiteY279" fmla="*/ 4100539 h 5950684"/>
              <a:gd name="connsiteX280" fmla="*/ 5312515 w 6100546"/>
              <a:gd name="connsiteY280" fmla="*/ 4088587 h 5950684"/>
              <a:gd name="connsiteX281" fmla="*/ 5308118 w 6100546"/>
              <a:gd name="connsiteY281" fmla="*/ 4096510 h 5950684"/>
              <a:gd name="connsiteX282" fmla="*/ 5306843 w 6100546"/>
              <a:gd name="connsiteY282" fmla="*/ 4097190 h 5950684"/>
              <a:gd name="connsiteX283" fmla="*/ 5309774 w 6100546"/>
              <a:gd name="connsiteY283" fmla="*/ 4091329 h 5950684"/>
              <a:gd name="connsiteX284" fmla="*/ 5319784 w 6100546"/>
              <a:gd name="connsiteY284" fmla="*/ 4072905 h 5950684"/>
              <a:gd name="connsiteX285" fmla="*/ 5323591 w 6100546"/>
              <a:gd name="connsiteY285" fmla="*/ 4072906 h 5950684"/>
              <a:gd name="connsiteX286" fmla="*/ 5314379 w 6100546"/>
              <a:gd name="connsiteY286" fmla="*/ 4086723 h 5950684"/>
              <a:gd name="connsiteX287" fmla="*/ 5312515 w 6100546"/>
              <a:gd name="connsiteY287" fmla="*/ 4088587 h 5950684"/>
              <a:gd name="connsiteX288" fmla="*/ 5316106 w 6100546"/>
              <a:gd name="connsiteY288" fmla="*/ 4082116 h 5950684"/>
              <a:gd name="connsiteX289" fmla="*/ 5322699 w 6100546"/>
              <a:gd name="connsiteY289" fmla="*/ 4065600 h 5950684"/>
              <a:gd name="connsiteX290" fmla="*/ 5319784 w 6100546"/>
              <a:gd name="connsiteY290" fmla="*/ 4072905 h 5950684"/>
              <a:gd name="connsiteX291" fmla="*/ 5318985 w 6100546"/>
              <a:gd name="connsiteY291" fmla="*/ 4072906 h 5950684"/>
              <a:gd name="connsiteX292" fmla="*/ 4981290 w 6100546"/>
              <a:gd name="connsiteY292" fmla="*/ 4036063 h 5950684"/>
              <a:gd name="connsiteX293" fmla="*/ 4971550 w 6100546"/>
              <a:gd name="connsiteY293" fmla="*/ 4040500 h 5950684"/>
              <a:gd name="connsiteX294" fmla="*/ 4967006 w 6100546"/>
              <a:gd name="connsiteY294" fmla="*/ 4053515 h 5950684"/>
              <a:gd name="connsiteX295" fmla="*/ 4967006 w 6100546"/>
              <a:gd name="connsiteY295" fmla="*/ 4049758 h 5950684"/>
              <a:gd name="connsiteX296" fmla="*/ 4963246 w 6100546"/>
              <a:gd name="connsiteY296" fmla="*/ 4057273 h 5950684"/>
              <a:gd name="connsiteX297" fmla="*/ 4959486 w 6100546"/>
              <a:gd name="connsiteY297" fmla="*/ 4061029 h 5950684"/>
              <a:gd name="connsiteX298" fmla="*/ 4891800 w 6100546"/>
              <a:gd name="connsiteY298" fmla="*/ 4147448 h 5950684"/>
              <a:gd name="connsiteX299" fmla="*/ 4895560 w 6100546"/>
              <a:gd name="connsiteY299" fmla="*/ 4143690 h 5950684"/>
              <a:gd name="connsiteX300" fmla="*/ 4891800 w 6100546"/>
              <a:gd name="connsiteY300" fmla="*/ 4139933 h 5950684"/>
              <a:gd name="connsiteX301" fmla="*/ 4891800 w 6100546"/>
              <a:gd name="connsiteY301" fmla="*/ 4143690 h 5950684"/>
              <a:gd name="connsiteX302" fmla="*/ 4891800 w 6100546"/>
              <a:gd name="connsiteY302" fmla="*/ 4147448 h 5950684"/>
              <a:gd name="connsiteX303" fmla="*/ 4888039 w 6100546"/>
              <a:gd name="connsiteY303" fmla="*/ 4151205 h 5950684"/>
              <a:gd name="connsiteX304" fmla="*/ 4869238 w 6100546"/>
              <a:gd name="connsiteY304" fmla="*/ 4169991 h 5950684"/>
              <a:gd name="connsiteX305" fmla="*/ 4876758 w 6100546"/>
              <a:gd name="connsiteY305" fmla="*/ 4166234 h 5950684"/>
              <a:gd name="connsiteX306" fmla="*/ 4876758 w 6100546"/>
              <a:gd name="connsiteY306" fmla="*/ 4169991 h 5950684"/>
              <a:gd name="connsiteX307" fmla="*/ 4876758 w 6100546"/>
              <a:gd name="connsiteY307" fmla="*/ 4173749 h 5950684"/>
              <a:gd name="connsiteX308" fmla="*/ 4880519 w 6100546"/>
              <a:gd name="connsiteY308" fmla="*/ 4169990 h 5950684"/>
              <a:gd name="connsiteX309" fmla="*/ 4865477 w 6100546"/>
              <a:gd name="connsiteY309" fmla="*/ 4196292 h 5950684"/>
              <a:gd name="connsiteX310" fmla="*/ 4865477 w 6100546"/>
              <a:gd name="connsiteY310" fmla="*/ 4192535 h 5950684"/>
              <a:gd name="connsiteX311" fmla="*/ 4869238 w 6100546"/>
              <a:gd name="connsiteY311" fmla="*/ 4188778 h 5950684"/>
              <a:gd name="connsiteX312" fmla="*/ 4869238 w 6100546"/>
              <a:gd name="connsiteY312" fmla="*/ 4185021 h 5950684"/>
              <a:gd name="connsiteX313" fmla="*/ 4861717 w 6100546"/>
              <a:gd name="connsiteY313" fmla="*/ 4192535 h 5950684"/>
              <a:gd name="connsiteX314" fmla="*/ 4857957 w 6100546"/>
              <a:gd name="connsiteY314" fmla="*/ 4196292 h 5950684"/>
              <a:gd name="connsiteX315" fmla="*/ 4824114 w 6100546"/>
              <a:gd name="connsiteY315" fmla="*/ 4222593 h 5950684"/>
              <a:gd name="connsiteX316" fmla="*/ 4808133 w 6100546"/>
              <a:gd name="connsiteY316" fmla="*/ 4246546 h 5950684"/>
              <a:gd name="connsiteX317" fmla="*/ 4803807 w 6100546"/>
              <a:gd name="connsiteY317" fmla="*/ 4255386 h 5950684"/>
              <a:gd name="connsiteX318" fmla="*/ 4803348 w 6100546"/>
              <a:gd name="connsiteY318" fmla="*/ 4274363 h 5950684"/>
              <a:gd name="connsiteX319" fmla="*/ 4787261 w 6100546"/>
              <a:gd name="connsiteY319" fmla="*/ 4299991 h 5950684"/>
              <a:gd name="connsiteX320" fmla="*/ 4766361 w 6100546"/>
              <a:gd name="connsiteY320" fmla="*/ 4320748 h 5950684"/>
              <a:gd name="connsiteX321" fmla="*/ 4765297 w 6100546"/>
              <a:gd name="connsiteY321" fmla="*/ 4321963 h 5950684"/>
              <a:gd name="connsiteX322" fmla="*/ 4773039 w 6100546"/>
              <a:gd name="connsiteY322" fmla="*/ 4336389 h 5950684"/>
              <a:gd name="connsiteX323" fmla="*/ 4824114 w 6100546"/>
              <a:gd name="connsiteY323" fmla="*/ 4271438 h 5950684"/>
              <a:gd name="connsiteX324" fmla="*/ 4880519 w 6100546"/>
              <a:gd name="connsiteY324" fmla="*/ 4200050 h 5950684"/>
              <a:gd name="connsiteX325" fmla="*/ 4925643 w 6100546"/>
              <a:gd name="connsiteY325" fmla="*/ 4124904 h 5950684"/>
              <a:gd name="connsiteX326" fmla="*/ 4963246 w 6100546"/>
              <a:gd name="connsiteY326" fmla="*/ 4064787 h 5950684"/>
              <a:gd name="connsiteX327" fmla="*/ 4967006 w 6100546"/>
              <a:gd name="connsiteY327" fmla="*/ 4061029 h 5950684"/>
              <a:gd name="connsiteX328" fmla="*/ 4970767 w 6100546"/>
              <a:gd name="connsiteY328" fmla="*/ 4053514 h 5950684"/>
              <a:gd name="connsiteX329" fmla="*/ 545930 w 6100546"/>
              <a:gd name="connsiteY329" fmla="*/ 4023021 h 5950684"/>
              <a:gd name="connsiteX330" fmla="*/ 598786 w 6100546"/>
              <a:gd name="connsiteY330" fmla="*/ 4152462 h 5950684"/>
              <a:gd name="connsiteX331" fmla="*/ 601360 w 6100546"/>
              <a:gd name="connsiteY331" fmla="*/ 4155129 h 5950684"/>
              <a:gd name="connsiteX332" fmla="*/ 616108 w 6100546"/>
              <a:gd name="connsiteY332" fmla="*/ 4179406 h 5950684"/>
              <a:gd name="connsiteX333" fmla="*/ 609272 w 6100546"/>
              <a:gd name="connsiteY333" fmla="*/ 4164659 h 5950684"/>
              <a:gd name="connsiteX334" fmla="*/ 574734 w 6100546"/>
              <a:gd name="connsiteY334" fmla="*/ 4069724 h 5950684"/>
              <a:gd name="connsiteX335" fmla="*/ 4977355 w 6100546"/>
              <a:gd name="connsiteY335" fmla="*/ 4003833 h 5950684"/>
              <a:gd name="connsiteX336" fmla="*/ 4970767 w 6100546"/>
              <a:gd name="connsiteY336" fmla="*/ 4019700 h 5950684"/>
              <a:gd name="connsiteX337" fmla="*/ 4974527 w 6100546"/>
              <a:gd name="connsiteY337" fmla="*/ 4014576 h 5950684"/>
              <a:gd name="connsiteX338" fmla="*/ 4974527 w 6100546"/>
              <a:gd name="connsiteY338" fmla="*/ 4015943 h 5950684"/>
              <a:gd name="connsiteX339" fmla="*/ 4970767 w 6100546"/>
              <a:gd name="connsiteY339" fmla="*/ 4023457 h 5950684"/>
              <a:gd name="connsiteX340" fmla="*/ 4973146 w 6100546"/>
              <a:gd name="connsiteY340" fmla="*/ 4023457 h 5950684"/>
              <a:gd name="connsiteX341" fmla="*/ 4975267 w 6100546"/>
              <a:gd name="connsiteY341" fmla="*/ 4013568 h 5950684"/>
              <a:gd name="connsiteX342" fmla="*/ 4974527 w 6100546"/>
              <a:gd name="connsiteY342" fmla="*/ 4014576 h 5950684"/>
              <a:gd name="connsiteX343" fmla="*/ 4974527 w 6100546"/>
              <a:gd name="connsiteY343" fmla="*/ 4012185 h 5950684"/>
              <a:gd name="connsiteX344" fmla="*/ 4975846 w 6100546"/>
              <a:gd name="connsiteY344" fmla="*/ 4010867 h 5950684"/>
              <a:gd name="connsiteX345" fmla="*/ 5034971 w 6100546"/>
              <a:gd name="connsiteY345" fmla="*/ 3938593 h 5950684"/>
              <a:gd name="connsiteX346" fmla="*/ 5002699 w 6100546"/>
              <a:gd name="connsiteY346" fmla="*/ 4000558 h 5950684"/>
              <a:gd name="connsiteX347" fmla="*/ 5016361 w 6100546"/>
              <a:gd name="connsiteY347" fmla="*/ 3977900 h 5950684"/>
              <a:gd name="connsiteX348" fmla="*/ 5443975 w 6100546"/>
              <a:gd name="connsiteY348" fmla="*/ 3887407 h 5950684"/>
              <a:gd name="connsiteX349" fmla="*/ 5443339 w 6100546"/>
              <a:gd name="connsiteY349" fmla="*/ 3897888 h 5950684"/>
              <a:gd name="connsiteX350" fmla="*/ 5443339 w 6100546"/>
              <a:gd name="connsiteY350" fmla="*/ 3893284 h 5950684"/>
              <a:gd name="connsiteX351" fmla="*/ 5443339 w 6100546"/>
              <a:gd name="connsiteY351" fmla="*/ 3888678 h 5950684"/>
              <a:gd name="connsiteX352" fmla="*/ 5094858 w 6100546"/>
              <a:gd name="connsiteY352" fmla="*/ 3865651 h 5950684"/>
              <a:gd name="connsiteX353" fmla="*/ 5095798 w 6100546"/>
              <a:gd name="connsiteY353" fmla="*/ 3865651 h 5950684"/>
              <a:gd name="connsiteX354" fmla="*/ 5094859 w 6100546"/>
              <a:gd name="connsiteY354" fmla="*/ 3869408 h 5950684"/>
              <a:gd name="connsiteX355" fmla="*/ 5094858 w 6100546"/>
              <a:gd name="connsiteY355" fmla="*/ 3865651 h 5950684"/>
              <a:gd name="connsiteX356" fmla="*/ 5086263 w 6100546"/>
              <a:gd name="connsiteY356" fmla="*/ 3834519 h 5950684"/>
              <a:gd name="connsiteX357" fmla="*/ 5077511 w 6100546"/>
              <a:gd name="connsiteY357" fmla="*/ 3856911 h 5950684"/>
              <a:gd name="connsiteX358" fmla="*/ 5055074 w 6100546"/>
              <a:gd name="connsiteY358" fmla="*/ 3899992 h 5950684"/>
              <a:gd name="connsiteX359" fmla="*/ 5061955 w 6100546"/>
              <a:gd name="connsiteY359" fmla="*/ 3902284 h 5950684"/>
              <a:gd name="connsiteX360" fmla="*/ 5064776 w 6100546"/>
              <a:gd name="connsiteY360" fmla="*/ 3910738 h 5950684"/>
              <a:gd name="connsiteX361" fmla="*/ 5083577 w 6100546"/>
              <a:gd name="connsiteY361" fmla="*/ 3891952 h 5950684"/>
              <a:gd name="connsiteX362" fmla="*/ 5079818 w 6100546"/>
              <a:gd name="connsiteY362" fmla="*/ 3899465 h 5950684"/>
              <a:gd name="connsiteX363" fmla="*/ 5076056 w 6100546"/>
              <a:gd name="connsiteY363" fmla="*/ 3906981 h 5950684"/>
              <a:gd name="connsiteX364" fmla="*/ 5079817 w 6100546"/>
              <a:gd name="connsiteY364" fmla="*/ 3903223 h 5950684"/>
              <a:gd name="connsiteX365" fmla="*/ 5083577 w 6100546"/>
              <a:gd name="connsiteY365" fmla="*/ 3895709 h 5950684"/>
              <a:gd name="connsiteX366" fmla="*/ 5087337 w 6100546"/>
              <a:gd name="connsiteY366" fmla="*/ 3891952 h 5950684"/>
              <a:gd name="connsiteX367" fmla="*/ 5098618 w 6100546"/>
              <a:gd name="connsiteY367" fmla="*/ 3873165 h 5950684"/>
              <a:gd name="connsiteX368" fmla="*/ 5098618 w 6100546"/>
              <a:gd name="connsiteY368" fmla="*/ 3869408 h 5950684"/>
              <a:gd name="connsiteX369" fmla="*/ 5098618 w 6100546"/>
              <a:gd name="connsiteY369" fmla="*/ 3865651 h 5950684"/>
              <a:gd name="connsiteX370" fmla="*/ 5095798 w 6100546"/>
              <a:gd name="connsiteY370" fmla="*/ 3865651 h 5950684"/>
              <a:gd name="connsiteX371" fmla="*/ 5096738 w 6100546"/>
              <a:gd name="connsiteY371" fmla="*/ 3861893 h 5950684"/>
              <a:gd name="connsiteX372" fmla="*/ 5098619 w 6100546"/>
              <a:gd name="connsiteY372" fmla="*/ 3854378 h 5950684"/>
              <a:gd name="connsiteX373" fmla="*/ 5079817 w 6100546"/>
              <a:gd name="connsiteY373" fmla="*/ 3865651 h 5950684"/>
              <a:gd name="connsiteX374" fmla="*/ 5087337 w 6100546"/>
              <a:gd name="connsiteY374" fmla="*/ 3835593 h 5950684"/>
              <a:gd name="connsiteX375" fmla="*/ 5087338 w 6100546"/>
              <a:gd name="connsiteY375" fmla="*/ 3831769 h 5950684"/>
              <a:gd name="connsiteX376" fmla="*/ 5087312 w 6100546"/>
              <a:gd name="connsiteY376" fmla="*/ 3831835 h 5950684"/>
              <a:gd name="connsiteX377" fmla="*/ 5087338 w 6100546"/>
              <a:gd name="connsiteY377" fmla="*/ 3831835 h 5950684"/>
              <a:gd name="connsiteX378" fmla="*/ 5111256 w 6100546"/>
              <a:gd name="connsiteY378" fmla="*/ 3770575 h 5950684"/>
              <a:gd name="connsiteX379" fmla="*/ 5101814 w 6100546"/>
              <a:gd name="connsiteY379" fmla="*/ 3794734 h 5950684"/>
              <a:gd name="connsiteX380" fmla="*/ 5107079 w 6100546"/>
              <a:gd name="connsiteY380" fmla="*/ 3785338 h 5950684"/>
              <a:gd name="connsiteX381" fmla="*/ 5111662 w 6100546"/>
              <a:gd name="connsiteY381" fmla="*/ 3772481 h 5950684"/>
              <a:gd name="connsiteX382" fmla="*/ 5166304 w 6100546"/>
              <a:gd name="connsiteY382" fmla="*/ 3610155 h 5950684"/>
              <a:gd name="connsiteX383" fmla="*/ 5164875 w 6100546"/>
              <a:gd name="connsiteY383" fmla="*/ 3613317 h 5950684"/>
              <a:gd name="connsiteX384" fmla="*/ 5144504 w 6100546"/>
              <a:gd name="connsiteY384" fmla="*/ 3685511 h 5950684"/>
              <a:gd name="connsiteX385" fmla="*/ 5126538 w 6100546"/>
              <a:gd name="connsiteY385" fmla="*/ 3731477 h 5950684"/>
              <a:gd name="connsiteX386" fmla="*/ 5130581 w 6100546"/>
              <a:gd name="connsiteY386" fmla="*/ 3727100 h 5950684"/>
              <a:gd name="connsiteX387" fmla="*/ 5147503 w 6100546"/>
              <a:gd name="connsiteY387" fmla="*/ 3689057 h 5950684"/>
              <a:gd name="connsiteX388" fmla="*/ 5166304 w 6100546"/>
              <a:gd name="connsiteY388" fmla="*/ 3610155 h 5950684"/>
              <a:gd name="connsiteX389" fmla="*/ 5563088 w 6100546"/>
              <a:gd name="connsiteY389" fmla="*/ 3368234 h 5950684"/>
              <a:gd name="connsiteX390" fmla="*/ 5563088 w 6100546"/>
              <a:gd name="connsiteY390" fmla="*/ 3372841 h 5950684"/>
              <a:gd name="connsiteX391" fmla="*/ 5562808 w 6100546"/>
              <a:gd name="connsiteY391" fmla="*/ 3372560 h 5950684"/>
              <a:gd name="connsiteX392" fmla="*/ 5558482 w 6100546"/>
              <a:gd name="connsiteY392" fmla="*/ 3363628 h 5950684"/>
              <a:gd name="connsiteX393" fmla="*/ 5558699 w 6100546"/>
              <a:gd name="connsiteY393" fmla="*/ 3363629 h 5950684"/>
              <a:gd name="connsiteX394" fmla="*/ 5558482 w 6100546"/>
              <a:gd name="connsiteY394" fmla="*/ 3368235 h 5950684"/>
              <a:gd name="connsiteX395" fmla="*/ 5558482 w 6100546"/>
              <a:gd name="connsiteY395" fmla="*/ 3363628 h 5950684"/>
              <a:gd name="connsiteX396" fmla="*/ 5549271 w 6100546"/>
              <a:gd name="connsiteY396" fmla="*/ 3147162 h 5950684"/>
              <a:gd name="connsiteX397" fmla="*/ 5553877 w 6100546"/>
              <a:gd name="connsiteY397" fmla="*/ 3151767 h 5950684"/>
              <a:gd name="connsiteX398" fmla="*/ 5549271 w 6100546"/>
              <a:gd name="connsiteY398" fmla="*/ 3151767 h 5950684"/>
              <a:gd name="connsiteX399" fmla="*/ 5549271 w 6100546"/>
              <a:gd name="connsiteY399" fmla="*/ 3147162 h 5950684"/>
              <a:gd name="connsiteX400" fmla="*/ 5558482 w 6100546"/>
              <a:gd name="connsiteY400" fmla="*/ 3096499 h 5950684"/>
              <a:gd name="connsiteX401" fmla="*/ 5563088 w 6100546"/>
              <a:gd name="connsiteY401" fmla="*/ 3179401 h 5950684"/>
              <a:gd name="connsiteX402" fmla="*/ 5576905 w 6100546"/>
              <a:gd name="connsiteY402" fmla="*/ 3216247 h 5950684"/>
              <a:gd name="connsiteX403" fmla="*/ 5581511 w 6100546"/>
              <a:gd name="connsiteY403" fmla="*/ 3262304 h 5950684"/>
              <a:gd name="connsiteX404" fmla="*/ 5572300 w 6100546"/>
              <a:gd name="connsiteY404" fmla="*/ 3340601 h 5950684"/>
              <a:gd name="connsiteX405" fmla="*/ 5567693 w 6100546"/>
              <a:gd name="connsiteY405" fmla="*/ 3335995 h 5950684"/>
              <a:gd name="connsiteX406" fmla="*/ 5567694 w 6100546"/>
              <a:gd name="connsiteY406" fmla="*/ 3340601 h 5950684"/>
              <a:gd name="connsiteX407" fmla="*/ 5563088 w 6100546"/>
              <a:gd name="connsiteY407" fmla="*/ 3359023 h 5950684"/>
              <a:gd name="connsiteX408" fmla="*/ 5563088 w 6100546"/>
              <a:gd name="connsiteY408" fmla="*/ 3363629 h 5950684"/>
              <a:gd name="connsiteX409" fmla="*/ 5558699 w 6100546"/>
              <a:gd name="connsiteY409" fmla="*/ 3363629 h 5950684"/>
              <a:gd name="connsiteX410" fmla="*/ 5559058 w 6100546"/>
              <a:gd name="connsiteY410" fmla="*/ 3356073 h 5950684"/>
              <a:gd name="connsiteX411" fmla="*/ 5553877 w 6100546"/>
              <a:gd name="connsiteY411" fmla="*/ 3335994 h 5950684"/>
              <a:gd name="connsiteX412" fmla="*/ 5558482 w 6100546"/>
              <a:gd name="connsiteY412" fmla="*/ 3331389 h 5950684"/>
              <a:gd name="connsiteX413" fmla="*/ 5558482 w 6100546"/>
              <a:gd name="connsiteY413" fmla="*/ 3326784 h 5950684"/>
              <a:gd name="connsiteX414" fmla="*/ 5563088 w 6100546"/>
              <a:gd name="connsiteY414" fmla="*/ 3322178 h 5950684"/>
              <a:gd name="connsiteX415" fmla="*/ 5563088 w 6100546"/>
              <a:gd name="connsiteY415" fmla="*/ 3317572 h 5950684"/>
              <a:gd name="connsiteX416" fmla="*/ 5558482 w 6100546"/>
              <a:gd name="connsiteY416" fmla="*/ 3317572 h 5950684"/>
              <a:gd name="connsiteX417" fmla="*/ 5553877 w 6100546"/>
              <a:gd name="connsiteY417" fmla="*/ 3280727 h 5950684"/>
              <a:gd name="connsiteX418" fmla="*/ 5558482 w 6100546"/>
              <a:gd name="connsiteY418" fmla="*/ 3280727 h 5950684"/>
              <a:gd name="connsiteX419" fmla="*/ 5558482 w 6100546"/>
              <a:gd name="connsiteY419" fmla="*/ 3271514 h 5950684"/>
              <a:gd name="connsiteX420" fmla="*/ 5558482 w 6100546"/>
              <a:gd name="connsiteY420" fmla="*/ 3266910 h 5950684"/>
              <a:gd name="connsiteX421" fmla="*/ 5563088 w 6100546"/>
              <a:gd name="connsiteY421" fmla="*/ 3220853 h 5950684"/>
              <a:gd name="connsiteX422" fmla="*/ 5558482 w 6100546"/>
              <a:gd name="connsiteY422" fmla="*/ 3220852 h 5950684"/>
              <a:gd name="connsiteX423" fmla="*/ 5563088 w 6100546"/>
              <a:gd name="connsiteY423" fmla="*/ 3216247 h 5950684"/>
              <a:gd name="connsiteX424" fmla="*/ 5558481 w 6100546"/>
              <a:gd name="connsiteY424" fmla="*/ 3211641 h 5950684"/>
              <a:gd name="connsiteX425" fmla="*/ 5558482 w 6100546"/>
              <a:gd name="connsiteY425" fmla="*/ 3184007 h 5950684"/>
              <a:gd name="connsiteX426" fmla="*/ 5553877 w 6100546"/>
              <a:gd name="connsiteY426" fmla="*/ 3170190 h 5950684"/>
              <a:gd name="connsiteX427" fmla="*/ 5558482 w 6100546"/>
              <a:gd name="connsiteY427" fmla="*/ 3165584 h 5950684"/>
              <a:gd name="connsiteX428" fmla="*/ 5549271 w 6100546"/>
              <a:gd name="connsiteY428" fmla="*/ 3160978 h 5950684"/>
              <a:gd name="connsiteX429" fmla="*/ 5553877 w 6100546"/>
              <a:gd name="connsiteY429" fmla="*/ 3160979 h 5950684"/>
              <a:gd name="connsiteX430" fmla="*/ 5553877 w 6100546"/>
              <a:gd name="connsiteY430" fmla="*/ 3156373 h 5950684"/>
              <a:gd name="connsiteX431" fmla="*/ 5553877 w 6100546"/>
              <a:gd name="connsiteY431" fmla="*/ 3151767 h 5950684"/>
              <a:gd name="connsiteX432" fmla="*/ 5553876 w 6100546"/>
              <a:gd name="connsiteY432" fmla="*/ 3147162 h 5950684"/>
              <a:gd name="connsiteX433" fmla="*/ 5553877 w 6100546"/>
              <a:gd name="connsiteY433" fmla="*/ 3142555 h 5950684"/>
              <a:gd name="connsiteX434" fmla="*/ 5558482 w 6100546"/>
              <a:gd name="connsiteY434" fmla="*/ 3133345 h 5950684"/>
              <a:gd name="connsiteX435" fmla="*/ 5553877 w 6100546"/>
              <a:gd name="connsiteY435" fmla="*/ 3124133 h 5950684"/>
              <a:gd name="connsiteX436" fmla="*/ 5558482 w 6100546"/>
              <a:gd name="connsiteY436" fmla="*/ 3096499 h 5950684"/>
              <a:gd name="connsiteX437" fmla="*/ 5068728 w 6100546"/>
              <a:gd name="connsiteY437" fmla="*/ 3006335 h 5950684"/>
              <a:gd name="connsiteX438" fmla="*/ 5058833 w 6100546"/>
              <a:gd name="connsiteY438" fmla="*/ 3029380 h 5950684"/>
              <a:gd name="connsiteX439" fmla="*/ 5000270 w 6100546"/>
              <a:gd name="connsiteY439" fmla="*/ 3499100 h 5950684"/>
              <a:gd name="connsiteX440" fmla="*/ 4997351 w 6100546"/>
              <a:gd name="connsiteY440" fmla="*/ 3517113 h 5950684"/>
              <a:gd name="connsiteX441" fmla="*/ 4981162 w 6100546"/>
              <a:gd name="connsiteY441" fmla="*/ 3526341 h 5950684"/>
              <a:gd name="connsiteX442" fmla="*/ 4973470 w 6100546"/>
              <a:gd name="connsiteY442" fmla="*/ 3509454 h 5950684"/>
              <a:gd name="connsiteX443" fmla="*/ 4994080 w 6100546"/>
              <a:gd name="connsiteY443" fmla="*/ 3417719 h 5950684"/>
              <a:gd name="connsiteX444" fmla="*/ 4999041 w 6100546"/>
              <a:gd name="connsiteY444" fmla="*/ 3383157 h 5950684"/>
              <a:gd name="connsiteX445" fmla="*/ 4959247 w 6100546"/>
              <a:gd name="connsiteY445" fmla="*/ 3530345 h 5950684"/>
              <a:gd name="connsiteX446" fmla="*/ 4603718 w 6100546"/>
              <a:gd name="connsiteY446" fmla="*/ 4168087 h 5950684"/>
              <a:gd name="connsiteX447" fmla="*/ 4567122 w 6100546"/>
              <a:gd name="connsiteY447" fmla="*/ 4208352 h 5950684"/>
              <a:gd name="connsiteX448" fmla="*/ 4565188 w 6100546"/>
              <a:gd name="connsiteY448" fmla="*/ 4210970 h 5950684"/>
              <a:gd name="connsiteX449" fmla="*/ 4548960 w 6100546"/>
              <a:gd name="connsiteY449" fmla="*/ 4239107 h 5950684"/>
              <a:gd name="connsiteX450" fmla="*/ 4482714 w 6100546"/>
              <a:gd name="connsiteY450" fmla="*/ 4307523 h 5950684"/>
              <a:gd name="connsiteX451" fmla="*/ 4381549 w 6100546"/>
              <a:gd name="connsiteY451" fmla="*/ 4420470 h 5950684"/>
              <a:gd name="connsiteX452" fmla="*/ 3998990 w 6100546"/>
              <a:gd name="connsiteY452" fmla="*/ 4731903 h 5950684"/>
              <a:gd name="connsiteX453" fmla="*/ 4162929 w 6100546"/>
              <a:gd name="connsiteY453" fmla="*/ 4629423 h 5950684"/>
              <a:gd name="connsiteX454" fmla="*/ 4314038 w 6100546"/>
              <a:gd name="connsiteY454" fmla="*/ 4523195 h 5950684"/>
              <a:gd name="connsiteX455" fmla="*/ 4461229 w 6100546"/>
              <a:gd name="connsiteY455" fmla="*/ 4385990 h 5950684"/>
              <a:gd name="connsiteX456" fmla="*/ 4543929 w 6100546"/>
              <a:gd name="connsiteY456" fmla="*/ 4303907 h 5950684"/>
              <a:gd name="connsiteX457" fmla="*/ 4549932 w 6100546"/>
              <a:gd name="connsiteY457" fmla="*/ 4295415 h 5950684"/>
              <a:gd name="connsiteX458" fmla="*/ 4553788 w 6100546"/>
              <a:gd name="connsiteY458" fmla="*/ 4295289 h 5950684"/>
              <a:gd name="connsiteX459" fmla="*/ 4594816 w 6100546"/>
              <a:gd name="connsiteY459" fmla="*/ 4249177 h 5950684"/>
              <a:gd name="connsiteX460" fmla="*/ 4560743 w 6100546"/>
              <a:gd name="connsiteY460" fmla="*/ 4296407 h 5950684"/>
              <a:gd name="connsiteX461" fmla="*/ 4566959 w 6100546"/>
              <a:gd name="connsiteY461" fmla="*/ 4303903 h 5950684"/>
              <a:gd name="connsiteX462" fmla="*/ 4565620 w 6100546"/>
              <a:gd name="connsiteY462" fmla="*/ 4315411 h 5950684"/>
              <a:gd name="connsiteX463" fmla="*/ 4534555 w 6100546"/>
              <a:gd name="connsiteY463" fmla="*/ 4359170 h 5950684"/>
              <a:gd name="connsiteX464" fmla="*/ 4425298 w 6100546"/>
              <a:gd name="connsiteY464" fmla="*/ 4466921 h 5950684"/>
              <a:gd name="connsiteX465" fmla="*/ 4375776 w 6100546"/>
              <a:gd name="connsiteY465" fmla="*/ 4510682 h 5950684"/>
              <a:gd name="connsiteX466" fmla="*/ 4374550 w 6100546"/>
              <a:gd name="connsiteY466" fmla="*/ 4511943 h 5950684"/>
              <a:gd name="connsiteX467" fmla="*/ 4371382 w 6100546"/>
              <a:gd name="connsiteY467" fmla="*/ 4514565 h 5950684"/>
              <a:gd name="connsiteX468" fmla="*/ 4367311 w 6100546"/>
              <a:gd name="connsiteY468" fmla="*/ 4518163 h 5950684"/>
              <a:gd name="connsiteX469" fmla="*/ 4365470 w 6100546"/>
              <a:gd name="connsiteY469" fmla="*/ 4519459 h 5950684"/>
              <a:gd name="connsiteX470" fmla="*/ 4309464 w 6100546"/>
              <a:gd name="connsiteY470" fmla="*/ 4565818 h 5950684"/>
              <a:gd name="connsiteX471" fmla="*/ 4313091 w 6100546"/>
              <a:gd name="connsiteY471" fmla="*/ 4567406 h 5950684"/>
              <a:gd name="connsiteX472" fmla="*/ 4322772 w 6100546"/>
              <a:gd name="connsiteY472" fmla="*/ 4566877 h 5950684"/>
              <a:gd name="connsiteX473" fmla="*/ 4327321 w 6100546"/>
              <a:gd name="connsiteY473" fmla="*/ 4566813 h 5950684"/>
              <a:gd name="connsiteX474" fmla="*/ 4408688 w 6100546"/>
              <a:gd name="connsiteY474" fmla="*/ 4507942 h 5950684"/>
              <a:gd name="connsiteX475" fmla="*/ 4577446 w 6100546"/>
              <a:gd name="connsiteY475" fmla="*/ 4352526 h 5950684"/>
              <a:gd name="connsiteX476" fmla="*/ 4596277 w 6100546"/>
              <a:gd name="connsiteY476" fmla="*/ 4333784 h 5950684"/>
              <a:gd name="connsiteX477" fmla="*/ 4609844 w 6100546"/>
              <a:gd name="connsiteY477" fmla="*/ 4318799 h 5950684"/>
              <a:gd name="connsiteX478" fmla="*/ 4613420 w 6100546"/>
              <a:gd name="connsiteY478" fmla="*/ 4317092 h 5950684"/>
              <a:gd name="connsiteX479" fmla="*/ 4776168 w 6100546"/>
              <a:gd name="connsiteY479" fmla="*/ 4119497 h 5950684"/>
              <a:gd name="connsiteX480" fmla="*/ 4919463 w 6100546"/>
              <a:gd name="connsiteY480" fmla="*/ 3885520 h 5950684"/>
              <a:gd name="connsiteX481" fmla="*/ 4974580 w 6100546"/>
              <a:gd name="connsiteY481" fmla="*/ 3759962 h 5950684"/>
              <a:gd name="connsiteX482" fmla="*/ 5016577 w 6100546"/>
              <a:gd name="connsiteY482" fmla="*/ 3621898 h 5950684"/>
              <a:gd name="connsiteX483" fmla="*/ 5050373 w 6100546"/>
              <a:gd name="connsiteY483" fmla="*/ 3470717 h 5950684"/>
              <a:gd name="connsiteX484" fmla="*/ 5050174 w 6100546"/>
              <a:gd name="connsiteY484" fmla="*/ 3392950 h 5950684"/>
              <a:gd name="connsiteX485" fmla="*/ 5049991 w 6100546"/>
              <a:gd name="connsiteY485" fmla="*/ 3335568 h 5950684"/>
              <a:gd name="connsiteX486" fmla="*/ 5075584 w 6100546"/>
              <a:gd name="connsiteY486" fmla="*/ 3025457 h 5950684"/>
              <a:gd name="connsiteX487" fmla="*/ 5068728 w 6100546"/>
              <a:gd name="connsiteY487" fmla="*/ 3006335 h 5950684"/>
              <a:gd name="connsiteX488" fmla="*/ 5512425 w 6100546"/>
              <a:gd name="connsiteY488" fmla="*/ 2769494 h 5950684"/>
              <a:gd name="connsiteX489" fmla="*/ 5517031 w 6100546"/>
              <a:gd name="connsiteY489" fmla="*/ 2783312 h 5950684"/>
              <a:gd name="connsiteX490" fmla="*/ 5517031 w 6100546"/>
              <a:gd name="connsiteY490" fmla="*/ 2787918 h 5950684"/>
              <a:gd name="connsiteX491" fmla="*/ 5517031 w 6100546"/>
              <a:gd name="connsiteY491" fmla="*/ 2792523 h 5950684"/>
              <a:gd name="connsiteX492" fmla="*/ 5517031 w 6100546"/>
              <a:gd name="connsiteY492" fmla="*/ 2797129 h 5950684"/>
              <a:gd name="connsiteX493" fmla="*/ 5512425 w 6100546"/>
              <a:gd name="connsiteY493" fmla="*/ 2787918 h 5950684"/>
              <a:gd name="connsiteX494" fmla="*/ 5512425 w 6100546"/>
              <a:gd name="connsiteY494" fmla="*/ 2769494 h 5950684"/>
              <a:gd name="connsiteX495" fmla="*/ 73605 w 6100546"/>
              <a:gd name="connsiteY495" fmla="*/ 2372526 h 5950684"/>
              <a:gd name="connsiteX496" fmla="*/ 75172 w 6100546"/>
              <a:gd name="connsiteY496" fmla="*/ 2375941 h 5950684"/>
              <a:gd name="connsiteX497" fmla="*/ 76739 w 6100546"/>
              <a:gd name="connsiteY497" fmla="*/ 2379355 h 5950684"/>
              <a:gd name="connsiteX498" fmla="*/ 71754 w 6100546"/>
              <a:gd name="connsiteY498" fmla="*/ 2377508 h 5950684"/>
              <a:gd name="connsiteX499" fmla="*/ 73605 w 6100546"/>
              <a:gd name="connsiteY499" fmla="*/ 2372526 h 5950684"/>
              <a:gd name="connsiteX500" fmla="*/ 254147 w 6100546"/>
              <a:gd name="connsiteY500" fmla="*/ 1810170 h 5950684"/>
              <a:gd name="connsiteX501" fmla="*/ 184092 w 6100546"/>
              <a:gd name="connsiteY501" fmla="*/ 1991128 h 5950684"/>
              <a:gd name="connsiteX502" fmla="*/ 183239 w 6100546"/>
              <a:gd name="connsiteY502" fmla="*/ 2016322 h 5950684"/>
              <a:gd name="connsiteX503" fmla="*/ 159744 w 6100546"/>
              <a:gd name="connsiteY503" fmla="*/ 2064306 h 5950684"/>
              <a:gd name="connsiteX504" fmla="*/ 154906 w 6100546"/>
              <a:gd name="connsiteY504" fmla="*/ 2107865 h 5950684"/>
              <a:gd name="connsiteX505" fmla="*/ 127993 w 6100546"/>
              <a:gd name="connsiteY505" fmla="*/ 2157417 h 5950684"/>
              <a:gd name="connsiteX506" fmla="*/ 118024 w 6100546"/>
              <a:gd name="connsiteY506" fmla="*/ 2153722 h 5950684"/>
              <a:gd name="connsiteX507" fmla="*/ 106633 w 6100546"/>
              <a:gd name="connsiteY507" fmla="*/ 2192019 h 5950684"/>
              <a:gd name="connsiteX508" fmla="*/ 110051 w 6100546"/>
              <a:gd name="connsiteY508" fmla="*/ 2190451 h 5950684"/>
              <a:gd name="connsiteX509" fmla="*/ 111902 w 6100546"/>
              <a:gd name="connsiteY509" fmla="*/ 2185468 h 5950684"/>
              <a:gd name="connsiteX510" fmla="*/ 113469 w 6100546"/>
              <a:gd name="connsiteY510" fmla="*/ 2188883 h 5950684"/>
              <a:gd name="connsiteX511" fmla="*/ 122155 w 6100546"/>
              <a:gd name="connsiteY511" fmla="*/ 2180764 h 5950684"/>
              <a:gd name="connsiteX512" fmla="*/ 114466 w 6100546"/>
              <a:gd name="connsiteY512" fmla="*/ 2209094 h 5950684"/>
              <a:gd name="connsiteX513" fmla="*/ 116033 w 6100546"/>
              <a:gd name="connsiteY513" fmla="*/ 2212509 h 5950684"/>
              <a:gd name="connsiteX514" fmla="*/ 112616 w 6100546"/>
              <a:gd name="connsiteY514" fmla="*/ 2214078 h 5950684"/>
              <a:gd name="connsiteX515" fmla="*/ 112331 w 6100546"/>
              <a:gd name="connsiteY515" fmla="*/ 2222475 h 5950684"/>
              <a:gd name="connsiteX516" fmla="*/ 108913 w 6100546"/>
              <a:gd name="connsiteY516" fmla="*/ 2224043 h 5950684"/>
              <a:gd name="connsiteX517" fmla="*/ 103791 w 6100546"/>
              <a:gd name="connsiteY517" fmla="*/ 2276000 h 5950684"/>
              <a:gd name="connsiteX518" fmla="*/ 83997 w 6100546"/>
              <a:gd name="connsiteY518" fmla="*/ 2314018 h 5950684"/>
              <a:gd name="connsiteX519" fmla="*/ 82146 w 6100546"/>
              <a:gd name="connsiteY519" fmla="*/ 2319001 h 5950684"/>
              <a:gd name="connsiteX520" fmla="*/ 78444 w 6100546"/>
              <a:gd name="connsiteY520" fmla="*/ 2328967 h 5950684"/>
              <a:gd name="connsiteX521" fmla="*/ 76878 w 6100546"/>
              <a:gd name="connsiteY521" fmla="*/ 2325552 h 5950684"/>
              <a:gd name="connsiteX522" fmla="*/ 78729 w 6100546"/>
              <a:gd name="connsiteY522" fmla="*/ 2320569 h 5950684"/>
              <a:gd name="connsiteX523" fmla="*/ 77162 w 6100546"/>
              <a:gd name="connsiteY523" fmla="*/ 2317154 h 5950684"/>
              <a:gd name="connsiteX524" fmla="*/ 74458 w 6100546"/>
              <a:gd name="connsiteY524" fmla="*/ 2347331 h 5950684"/>
              <a:gd name="connsiteX525" fmla="*/ 76309 w 6100546"/>
              <a:gd name="connsiteY525" fmla="*/ 2342348 h 5950684"/>
              <a:gd name="connsiteX526" fmla="*/ 77877 w 6100546"/>
              <a:gd name="connsiteY526" fmla="*/ 2345763 h 5950684"/>
              <a:gd name="connsiteX527" fmla="*/ 79443 w 6100546"/>
              <a:gd name="connsiteY527" fmla="*/ 2349178 h 5950684"/>
              <a:gd name="connsiteX528" fmla="*/ 84712 w 6100546"/>
              <a:gd name="connsiteY528" fmla="*/ 2342626 h 5950684"/>
              <a:gd name="connsiteX529" fmla="*/ 75457 w 6100546"/>
              <a:gd name="connsiteY529" fmla="*/ 2367543 h 5950684"/>
              <a:gd name="connsiteX530" fmla="*/ 73605 w 6100546"/>
              <a:gd name="connsiteY530" fmla="*/ 2372526 h 5950684"/>
              <a:gd name="connsiteX531" fmla="*/ 48121 w 6100546"/>
              <a:gd name="connsiteY531" fmla="*/ 2479296 h 5950684"/>
              <a:gd name="connsiteX532" fmla="*/ 46270 w 6100546"/>
              <a:gd name="connsiteY532" fmla="*/ 2484279 h 5950684"/>
              <a:gd name="connsiteX533" fmla="*/ 45985 w 6100546"/>
              <a:gd name="connsiteY533" fmla="*/ 2492677 h 5950684"/>
              <a:gd name="connsiteX534" fmla="*/ 44419 w 6100546"/>
              <a:gd name="connsiteY534" fmla="*/ 2489262 h 5950684"/>
              <a:gd name="connsiteX535" fmla="*/ 49832 w 6100546"/>
              <a:gd name="connsiteY535" fmla="*/ 2528117 h 5950684"/>
              <a:gd name="connsiteX536" fmla="*/ 50117 w 6100546"/>
              <a:gd name="connsiteY536" fmla="*/ 2519718 h 5950684"/>
              <a:gd name="connsiteX537" fmla="*/ 53535 w 6100546"/>
              <a:gd name="connsiteY537" fmla="*/ 2518151 h 5950684"/>
              <a:gd name="connsiteX538" fmla="*/ 53251 w 6100546"/>
              <a:gd name="connsiteY538" fmla="*/ 2526549 h 5950684"/>
              <a:gd name="connsiteX539" fmla="*/ 53821 w 6100546"/>
              <a:gd name="connsiteY539" fmla="*/ 2527790 h 5950684"/>
              <a:gd name="connsiteX540" fmla="*/ 53340 w 6100546"/>
              <a:gd name="connsiteY540" fmla="*/ 2530125 h 5950684"/>
              <a:gd name="connsiteX541" fmla="*/ 52967 w 6100546"/>
              <a:gd name="connsiteY541" fmla="*/ 2534947 h 5950684"/>
              <a:gd name="connsiteX542" fmla="*/ 54818 w 6100546"/>
              <a:gd name="connsiteY542" fmla="*/ 2529963 h 5950684"/>
              <a:gd name="connsiteX543" fmla="*/ 53821 w 6100546"/>
              <a:gd name="connsiteY543" fmla="*/ 2527790 h 5950684"/>
              <a:gd name="connsiteX544" fmla="*/ 55102 w 6100546"/>
              <a:gd name="connsiteY544" fmla="*/ 2521565 h 5950684"/>
              <a:gd name="connsiteX545" fmla="*/ 49417 w 6100546"/>
              <a:gd name="connsiteY545" fmla="*/ 2689527 h 5950684"/>
              <a:gd name="connsiteX546" fmla="*/ 43579 w 6100546"/>
              <a:gd name="connsiteY546" fmla="*/ 2712875 h 5950684"/>
              <a:gd name="connsiteX547" fmla="*/ 50130 w 6100546"/>
              <a:gd name="connsiteY547" fmla="*/ 2718137 h 5950684"/>
              <a:gd name="connsiteX548" fmla="*/ 48279 w 6100546"/>
              <a:gd name="connsiteY548" fmla="*/ 2723120 h 5950684"/>
              <a:gd name="connsiteX549" fmla="*/ 47995 w 6100546"/>
              <a:gd name="connsiteY549" fmla="*/ 2731518 h 5950684"/>
              <a:gd name="connsiteX550" fmla="*/ 40453 w 6100546"/>
              <a:gd name="connsiteY550" fmla="*/ 2805254 h 5950684"/>
              <a:gd name="connsiteX551" fmla="*/ 42303 w 6100546"/>
              <a:gd name="connsiteY551" fmla="*/ 2800271 h 5950684"/>
              <a:gd name="connsiteX552" fmla="*/ 47288 w 6100546"/>
              <a:gd name="connsiteY552" fmla="*/ 2802118 h 5950684"/>
              <a:gd name="connsiteX553" fmla="*/ 45437 w 6100546"/>
              <a:gd name="connsiteY553" fmla="*/ 2807101 h 5950684"/>
              <a:gd name="connsiteX554" fmla="*/ 47003 w 6100546"/>
              <a:gd name="connsiteY554" fmla="*/ 2810516 h 5950684"/>
              <a:gd name="connsiteX555" fmla="*/ 41312 w 6100546"/>
              <a:gd name="connsiteY555" fmla="*/ 2879269 h 5950684"/>
              <a:gd name="connsiteX556" fmla="*/ 48154 w 6100546"/>
              <a:gd name="connsiteY556" fmla="*/ 2975342 h 5950684"/>
              <a:gd name="connsiteX557" fmla="*/ 32341 w 6100546"/>
              <a:gd name="connsiteY557" fmla="*/ 2895787 h 5950684"/>
              <a:gd name="connsiteX558" fmla="*/ 39599 w 6100546"/>
              <a:gd name="connsiteY558" fmla="*/ 2830448 h 5950684"/>
              <a:gd name="connsiteX559" fmla="*/ 34615 w 6100546"/>
              <a:gd name="connsiteY559" fmla="*/ 2828601 h 5950684"/>
              <a:gd name="connsiteX560" fmla="*/ 36750 w 6100546"/>
              <a:gd name="connsiteY560" fmla="*/ 2815220 h 5950684"/>
              <a:gd name="connsiteX561" fmla="*/ 38601 w 6100546"/>
              <a:gd name="connsiteY561" fmla="*/ 2810237 h 5950684"/>
              <a:gd name="connsiteX562" fmla="*/ 35183 w 6100546"/>
              <a:gd name="connsiteY562" fmla="*/ 2811805 h 5950684"/>
              <a:gd name="connsiteX563" fmla="*/ 32189 w 6100546"/>
              <a:gd name="connsiteY563" fmla="*/ 2751171 h 5950684"/>
              <a:gd name="connsiteX564" fmla="*/ 30622 w 6100546"/>
              <a:gd name="connsiteY564" fmla="*/ 2747756 h 5950684"/>
              <a:gd name="connsiteX565" fmla="*/ 29055 w 6100546"/>
              <a:gd name="connsiteY565" fmla="*/ 2744342 h 5950684"/>
              <a:gd name="connsiteX566" fmla="*/ 27489 w 6100546"/>
              <a:gd name="connsiteY566" fmla="*/ 2740926 h 5950684"/>
              <a:gd name="connsiteX567" fmla="*/ 30906 w 6100546"/>
              <a:gd name="connsiteY567" fmla="*/ 2739359 h 5950684"/>
              <a:gd name="connsiteX568" fmla="*/ 25922 w 6100546"/>
              <a:gd name="connsiteY568" fmla="*/ 2737511 h 5950684"/>
              <a:gd name="connsiteX569" fmla="*/ 20223 w 6100546"/>
              <a:gd name="connsiteY569" fmla="*/ 2707055 h 5950684"/>
              <a:gd name="connsiteX570" fmla="*/ 7834 w 6100546"/>
              <a:gd name="connsiteY570" fmla="*/ 2725140 h 5950684"/>
              <a:gd name="connsiteX571" fmla="*/ 6410 w 6100546"/>
              <a:gd name="connsiteY571" fmla="*/ 2717526 h 5950684"/>
              <a:gd name="connsiteX572" fmla="*/ 5697 w 6100546"/>
              <a:gd name="connsiteY572" fmla="*/ 2713719 h 5950684"/>
              <a:gd name="connsiteX573" fmla="*/ 6552 w 6100546"/>
              <a:gd name="connsiteY573" fmla="*/ 2713327 h 5950684"/>
              <a:gd name="connsiteX574" fmla="*/ 4985 w 6100546"/>
              <a:gd name="connsiteY574" fmla="*/ 2709912 h 5950684"/>
              <a:gd name="connsiteX575" fmla="*/ 5697 w 6100546"/>
              <a:gd name="connsiteY575" fmla="*/ 2713719 h 5950684"/>
              <a:gd name="connsiteX576" fmla="*/ 3134 w 6100546"/>
              <a:gd name="connsiteY576" fmla="*/ 2714895 h 5950684"/>
              <a:gd name="connsiteX577" fmla="*/ 1567 w 6100546"/>
              <a:gd name="connsiteY577" fmla="*/ 2711481 h 5950684"/>
              <a:gd name="connsiteX578" fmla="*/ 0 w 6100546"/>
              <a:gd name="connsiteY578" fmla="*/ 2708065 h 5950684"/>
              <a:gd name="connsiteX579" fmla="*/ 2420 w 6100546"/>
              <a:gd name="connsiteY579" fmla="*/ 2686286 h 5950684"/>
              <a:gd name="connsiteX580" fmla="*/ 4271 w 6100546"/>
              <a:gd name="connsiteY580" fmla="*/ 2681302 h 5950684"/>
              <a:gd name="connsiteX581" fmla="*/ 4556 w 6100546"/>
              <a:gd name="connsiteY581" fmla="*/ 2672905 h 5950684"/>
              <a:gd name="connsiteX582" fmla="*/ 6407 w 6100546"/>
              <a:gd name="connsiteY582" fmla="*/ 2667921 h 5950684"/>
              <a:gd name="connsiteX583" fmla="*/ 6122 w 6100546"/>
              <a:gd name="connsiteY583" fmla="*/ 2676319 h 5950684"/>
              <a:gd name="connsiteX584" fmla="*/ 5838 w 6100546"/>
              <a:gd name="connsiteY584" fmla="*/ 2684717 h 5950684"/>
              <a:gd name="connsiteX585" fmla="*/ 15093 w 6100546"/>
              <a:gd name="connsiteY585" fmla="*/ 2659802 h 5950684"/>
              <a:gd name="connsiteX586" fmla="*/ 30047 w 6100546"/>
              <a:gd name="connsiteY586" fmla="*/ 2665344 h 5950684"/>
              <a:gd name="connsiteX587" fmla="*/ 41001 w 6100546"/>
              <a:gd name="connsiteY587" fmla="*/ 2490831 h 5950684"/>
              <a:gd name="connsiteX588" fmla="*/ 41285 w 6100546"/>
              <a:gd name="connsiteY588" fmla="*/ 2482432 h 5950684"/>
              <a:gd name="connsiteX589" fmla="*/ 43136 w 6100546"/>
              <a:gd name="connsiteY589" fmla="*/ 2477449 h 5950684"/>
              <a:gd name="connsiteX590" fmla="*/ 52246 w 6100546"/>
              <a:gd name="connsiteY590" fmla="*/ 2407128 h 5950684"/>
              <a:gd name="connsiteX591" fmla="*/ 61924 w 6100546"/>
              <a:gd name="connsiteY591" fmla="*/ 2320011 h 5950684"/>
              <a:gd name="connsiteX592" fmla="*/ 83422 w 6100546"/>
              <a:gd name="connsiteY592" fmla="*/ 2231605 h 5950684"/>
              <a:gd name="connsiteX593" fmla="*/ 114745 w 6100546"/>
              <a:gd name="connsiteY593" fmla="*/ 2101486 h 5950684"/>
              <a:gd name="connsiteX594" fmla="*/ 158316 w 6100546"/>
              <a:gd name="connsiteY594" fmla="*/ 2007088 h 5950684"/>
              <a:gd name="connsiteX595" fmla="*/ 152764 w 6100546"/>
              <a:gd name="connsiteY595" fmla="*/ 2022036 h 5950684"/>
              <a:gd name="connsiteX596" fmla="*/ 158032 w 6100546"/>
              <a:gd name="connsiteY596" fmla="*/ 2015486 h 5950684"/>
              <a:gd name="connsiteX597" fmla="*/ 159883 w 6100546"/>
              <a:gd name="connsiteY597" fmla="*/ 2010503 h 5950684"/>
              <a:gd name="connsiteX598" fmla="*/ 159599 w 6100546"/>
              <a:gd name="connsiteY598" fmla="*/ 2018900 h 5950684"/>
              <a:gd name="connsiteX599" fmla="*/ 161166 w 6100546"/>
              <a:gd name="connsiteY599" fmla="*/ 2022315 h 5950684"/>
              <a:gd name="connsiteX600" fmla="*/ 196904 w 6100546"/>
              <a:gd name="connsiteY600" fmla="*/ 1910840 h 5950684"/>
              <a:gd name="connsiteX601" fmla="*/ 254147 w 6100546"/>
              <a:gd name="connsiteY601" fmla="*/ 1810170 h 5950684"/>
              <a:gd name="connsiteX602" fmla="*/ 5255412 w 6100546"/>
              <a:gd name="connsiteY602" fmla="*/ 1808295 h 5950684"/>
              <a:gd name="connsiteX603" fmla="*/ 5262797 w 6100546"/>
              <a:gd name="connsiteY603" fmla="*/ 1822287 h 5950684"/>
              <a:gd name="connsiteX604" fmla="*/ 5259110 w 6100546"/>
              <a:gd name="connsiteY604" fmla="*/ 1811511 h 5950684"/>
              <a:gd name="connsiteX605" fmla="*/ 5254505 w 6100546"/>
              <a:gd name="connsiteY605" fmla="*/ 1612476 h 5950684"/>
              <a:gd name="connsiteX606" fmla="*/ 5259110 w 6100546"/>
              <a:gd name="connsiteY606" fmla="*/ 1618072 h 5950684"/>
              <a:gd name="connsiteX607" fmla="*/ 5254505 w 6100546"/>
              <a:gd name="connsiteY607" fmla="*/ 1613466 h 5950684"/>
              <a:gd name="connsiteX608" fmla="*/ 4839989 w 6100546"/>
              <a:gd name="connsiteY608" fmla="*/ 1198953 h 5950684"/>
              <a:gd name="connsiteX609" fmla="*/ 4844595 w 6100546"/>
              <a:gd name="connsiteY609" fmla="*/ 1198954 h 5950684"/>
              <a:gd name="connsiteX610" fmla="*/ 4844595 w 6100546"/>
              <a:gd name="connsiteY610" fmla="*/ 1203559 h 5950684"/>
              <a:gd name="connsiteX611" fmla="*/ 4839989 w 6100546"/>
              <a:gd name="connsiteY611" fmla="*/ 1198953 h 5950684"/>
              <a:gd name="connsiteX612" fmla="*/ 4844595 w 6100546"/>
              <a:gd name="connsiteY612" fmla="*/ 1175925 h 5950684"/>
              <a:gd name="connsiteX613" fmla="*/ 4849201 w 6100546"/>
              <a:gd name="connsiteY613" fmla="*/ 1180532 h 5950684"/>
              <a:gd name="connsiteX614" fmla="*/ 4844595 w 6100546"/>
              <a:gd name="connsiteY614" fmla="*/ 1180531 h 5950684"/>
              <a:gd name="connsiteX615" fmla="*/ 4844595 w 6100546"/>
              <a:gd name="connsiteY615" fmla="*/ 1175925 h 5950684"/>
              <a:gd name="connsiteX616" fmla="*/ 4717028 w 6100546"/>
              <a:gd name="connsiteY616" fmla="*/ 1104605 h 5950684"/>
              <a:gd name="connsiteX617" fmla="*/ 4848516 w 6100546"/>
              <a:gd name="connsiteY617" fmla="*/ 1235748 h 5950684"/>
              <a:gd name="connsiteX618" fmla="*/ 5042418 w 6100546"/>
              <a:gd name="connsiteY618" fmla="*/ 1463027 h 5950684"/>
              <a:gd name="connsiteX619" fmla="*/ 5209369 w 6100546"/>
              <a:gd name="connsiteY619" fmla="*/ 1721060 h 5950684"/>
              <a:gd name="connsiteX620" fmla="*/ 5245013 w 6100546"/>
              <a:gd name="connsiteY620" fmla="*/ 1788592 h 5950684"/>
              <a:gd name="connsiteX621" fmla="*/ 5251050 w 6100546"/>
              <a:gd name="connsiteY621" fmla="*/ 1795175 h 5950684"/>
              <a:gd name="connsiteX622" fmla="*/ 5282140 w 6100546"/>
              <a:gd name="connsiteY622" fmla="*/ 1843751 h 5950684"/>
              <a:gd name="connsiteX623" fmla="*/ 5282139 w 6100546"/>
              <a:gd name="connsiteY623" fmla="*/ 1848356 h 5950684"/>
              <a:gd name="connsiteX624" fmla="*/ 5282139 w 6100546"/>
              <a:gd name="connsiteY624" fmla="*/ 1852961 h 5950684"/>
              <a:gd name="connsiteX625" fmla="*/ 5286745 w 6100546"/>
              <a:gd name="connsiteY625" fmla="*/ 1852962 h 5950684"/>
              <a:gd name="connsiteX626" fmla="*/ 5295956 w 6100546"/>
              <a:gd name="connsiteY626" fmla="*/ 1875989 h 5950684"/>
              <a:gd name="connsiteX627" fmla="*/ 5295956 w 6100546"/>
              <a:gd name="connsiteY627" fmla="*/ 1880596 h 5950684"/>
              <a:gd name="connsiteX628" fmla="*/ 5300562 w 6100546"/>
              <a:gd name="connsiteY628" fmla="*/ 1885202 h 5950684"/>
              <a:gd name="connsiteX629" fmla="*/ 5300562 w 6100546"/>
              <a:gd name="connsiteY629" fmla="*/ 1880595 h 5950684"/>
              <a:gd name="connsiteX630" fmla="*/ 5332803 w 6100546"/>
              <a:gd name="connsiteY630" fmla="*/ 1931258 h 5950684"/>
              <a:gd name="connsiteX631" fmla="*/ 5328196 w 6100546"/>
              <a:gd name="connsiteY631" fmla="*/ 1931259 h 5950684"/>
              <a:gd name="connsiteX632" fmla="*/ 5328196 w 6100546"/>
              <a:gd name="connsiteY632" fmla="*/ 1935864 h 5950684"/>
              <a:gd name="connsiteX633" fmla="*/ 5332802 w 6100546"/>
              <a:gd name="connsiteY633" fmla="*/ 1940470 h 5950684"/>
              <a:gd name="connsiteX634" fmla="*/ 5337408 w 6100546"/>
              <a:gd name="connsiteY634" fmla="*/ 1940470 h 5950684"/>
              <a:gd name="connsiteX635" fmla="*/ 5337409 w 6100546"/>
              <a:gd name="connsiteY635" fmla="*/ 1945076 h 5950684"/>
              <a:gd name="connsiteX636" fmla="*/ 5346619 w 6100546"/>
              <a:gd name="connsiteY636" fmla="*/ 1972710 h 5950684"/>
              <a:gd name="connsiteX637" fmla="*/ 5355831 w 6100546"/>
              <a:gd name="connsiteY637" fmla="*/ 1977315 h 5950684"/>
              <a:gd name="connsiteX638" fmla="*/ 5360436 w 6100546"/>
              <a:gd name="connsiteY638" fmla="*/ 1986527 h 5950684"/>
              <a:gd name="connsiteX639" fmla="*/ 5355831 w 6100546"/>
              <a:gd name="connsiteY639" fmla="*/ 1991132 h 5950684"/>
              <a:gd name="connsiteX640" fmla="*/ 5360436 w 6100546"/>
              <a:gd name="connsiteY640" fmla="*/ 1995738 h 5950684"/>
              <a:gd name="connsiteX641" fmla="*/ 5365042 w 6100546"/>
              <a:gd name="connsiteY641" fmla="*/ 2000344 h 5950684"/>
              <a:gd name="connsiteX642" fmla="*/ 5388071 w 6100546"/>
              <a:gd name="connsiteY642" fmla="*/ 2041794 h 5950684"/>
              <a:gd name="connsiteX643" fmla="*/ 5383465 w 6100546"/>
              <a:gd name="connsiteY643" fmla="*/ 2023372 h 5950684"/>
              <a:gd name="connsiteX644" fmla="*/ 5369648 w 6100546"/>
              <a:gd name="connsiteY644" fmla="*/ 2004950 h 5950684"/>
              <a:gd name="connsiteX645" fmla="*/ 5369648 w 6100546"/>
              <a:gd name="connsiteY645" fmla="*/ 2000343 h 5950684"/>
              <a:gd name="connsiteX646" fmla="*/ 5369648 w 6100546"/>
              <a:gd name="connsiteY646" fmla="*/ 1995738 h 5950684"/>
              <a:gd name="connsiteX647" fmla="*/ 5365042 w 6100546"/>
              <a:gd name="connsiteY647" fmla="*/ 1986527 h 5950684"/>
              <a:gd name="connsiteX648" fmla="*/ 5342013 w 6100546"/>
              <a:gd name="connsiteY648" fmla="*/ 1949681 h 5950684"/>
              <a:gd name="connsiteX649" fmla="*/ 5342013 w 6100546"/>
              <a:gd name="connsiteY649" fmla="*/ 1940470 h 5950684"/>
              <a:gd name="connsiteX650" fmla="*/ 5342013 w 6100546"/>
              <a:gd name="connsiteY650" fmla="*/ 1935863 h 5950684"/>
              <a:gd name="connsiteX651" fmla="*/ 5342013 w 6100546"/>
              <a:gd name="connsiteY651" fmla="*/ 1926652 h 5950684"/>
              <a:gd name="connsiteX652" fmla="*/ 5337409 w 6100546"/>
              <a:gd name="connsiteY652" fmla="*/ 1926653 h 5950684"/>
              <a:gd name="connsiteX653" fmla="*/ 5332802 w 6100546"/>
              <a:gd name="connsiteY653" fmla="*/ 1926653 h 5950684"/>
              <a:gd name="connsiteX654" fmla="*/ 5318985 w 6100546"/>
              <a:gd name="connsiteY654" fmla="*/ 1908229 h 5950684"/>
              <a:gd name="connsiteX655" fmla="*/ 5305168 w 6100546"/>
              <a:gd name="connsiteY655" fmla="*/ 1880596 h 5950684"/>
              <a:gd name="connsiteX656" fmla="*/ 5305168 w 6100546"/>
              <a:gd name="connsiteY656" fmla="*/ 1875990 h 5950684"/>
              <a:gd name="connsiteX657" fmla="*/ 5305168 w 6100546"/>
              <a:gd name="connsiteY657" fmla="*/ 1871385 h 5950684"/>
              <a:gd name="connsiteX658" fmla="*/ 5291350 w 6100546"/>
              <a:gd name="connsiteY658" fmla="*/ 1852962 h 5950684"/>
              <a:gd name="connsiteX659" fmla="*/ 5295956 w 6100546"/>
              <a:gd name="connsiteY659" fmla="*/ 1857568 h 5950684"/>
              <a:gd name="connsiteX660" fmla="*/ 5295956 w 6100546"/>
              <a:gd name="connsiteY660" fmla="*/ 1852962 h 5950684"/>
              <a:gd name="connsiteX661" fmla="*/ 5291350 w 6100546"/>
              <a:gd name="connsiteY661" fmla="*/ 1848356 h 5950684"/>
              <a:gd name="connsiteX662" fmla="*/ 5286745 w 6100546"/>
              <a:gd name="connsiteY662" fmla="*/ 1843750 h 5950684"/>
              <a:gd name="connsiteX663" fmla="*/ 5282139 w 6100546"/>
              <a:gd name="connsiteY663" fmla="*/ 1829934 h 5950684"/>
              <a:gd name="connsiteX664" fmla="*/ 5272928 w 6100546"/>
              <a:gd name="connsiteY664" fmla="*/ 1820721 h 5950684"/>
              <a:gd name="connsiteX665" fmla="*/ 5282139 w 6100546"/>
              <a:gd name="connsiteY665" fmla="*/ 1825327 h 5950684"/>
              <a:gd name="connsiteX666" fmla="*/ 5268323 w 6100546"/>
              <a:gd name="connsiteY666" fmla="*/ 1811511 h 5950684"/>
              <a:gd name="connsiteX667" fmla="*/ 5254505 w 6100546"/>
              <a:gd name="connsiteY667" fmla="*/ 1788482 h 5950684"/>
              <a:gd name="connsiteX668" fmla="*/ 5268322 w 6100546"/>
              <a:gd name="connsiteY668" fmla="*/ 1788482 h 5950684"/>
              <a:gd name="connsiteX669" fmla="*/ 5249899 w 6100546"/>
              <a:gd name="connsiteY669" fmla="*/ 1770060 h 5950684"/>
              <a:gd name="connsiteX670" fmla="*/ 5254505 w 6100546"/>
              <a:gd name="connsiteY670" fmla="*/ 1770060 h 5950684"/>
              <a:gd name="connsiteX671" fmla="*/ 5254505 w 6100546"/>
              <a:gd name="connsiteY671" fmla="*/ 1765454 h 5950684"/>
              <a:gd name="connsiteX672" fmla="*/ 5249899 w 6100546"/>
              <a:gd name="connsiteY672" fmla="*/ 1760848 h 5950684"/>
              <a:gd name="connsiteX673" fmla="*/ 5236082 w 6100546"/>
              <a:gd name="connsiteY673" fmla="*/ 1747031 h 5950684"/>
              <a:gd name="connsiteX674" fmla="*/ 5231476 w 6100546"/>
              <a:gd name="connsiteY674" fmla="*/ 1737820 h 5950684"/>
              <a:gd name="connsiteX675" fmla="*/ 5226870 w 6100546"/>
              <a:gd name="connsiteY675" fmla="*/ 1733215 h 5950684"/>
              <a:gd name="connsiteX676" fmla="*/ 5226870 w 6100546"/>
              <a:gd name="connsiteY676" fmla="*/ 1737820 h 5950684"/>
              <a:gd name="connsiteX677" fmla="*/ 5226870 w 6100546"/>
              <a:gd name="connsiteY677" fmla="*/ 1742425 h 5950684"/>
              <a:gd name="connsiteX678" fmla="*/ 5203843 w 6100546"/>
              <a:gd name="connsiteY678" fmla="*/ 1705580 h 5950684"/>
              <a:gd name="connsiteX679" fmla="*/ 5217659 w 6100546"/>
              <a:gd name="connsiteY679" fmla="*/ 1710186 h 5950684"/>
              <a:gd name="connsiteX680" fmla="*/ 5190024 w 6100546"/>
              <a:gd name="connsiteY680" fmla="*/ 1682551 h 5950684"/>
              <a:gd name="connsiteX681" fmla="*/ 5166996 w 6100546"/>
              <a:gd name="connsiteY681" fmla="*/ 1645706 h 5950684"/>
              <a:gd name="connsiteX682" fmla="*/ 5171602 w 6100546"/>
              <a:gd name="connsiteY682" fmla="*/ 1650312 h 5950684"/>
              <a:gd name="connsiteX683" fmla="*/ 5176207 w 6100546"/>
              <a:gd name="connsiteY683" fmla="*/ 1650312 h 5950684"/>
              <a:gd name="connsiteX684" fmla="*/ 5180814 w 6100546"/>
              <a:gd name="connsiteY684" fmla="*/ 1650312 h 5950684"/>
              <a:gd name="connsiteX685" fmla="*/ 5176208 w 6100546"/>
              <a:gd name="connsiteY685" fmla="*/ 1641100 h 5950684"/>
              <a:gd name="connsiteX686" fmla="*/ 5180813 w 6100546"/>
              <a:gd name="connsiteY686" fmla="*/ 1641100 h 5950684"/>
              <a:gd name="connsiteX687" fmla="*/ 5185420 w 6100546"/>
              <a:gd name="connsiteY687" fmla="*/ 1645706 h 5950684"/>
              <a:gd name="connsiteX688" fmla="*/ 5185419 w 6100546"/>
              <a:gd name="connsiteY688" fmla="*/ 1650312 h 5950684"/>
              <a:gd name="connsiteX689" fmla="*/ 5190024 w 6100546"/>
              <a:gd name="connsiteY689" fmla="*/ 1654917 h 5950684"/>
              <a:gd name="connsiteX690" fmla="*/ 5194630 w 6100546"/>
              <a:gd name="connsiteY690" fmla="*/ 1659523 h 5950684"/>
              <a:gd name="connsiteX691" fmla="*/ 5286745 w 6100546"/>
              <a:gd name="connsiteY691" fmla="*/ 1806905 h 5950684"/>
              <a:gd name="connsiteX692" fmla="*/ 5286745 w 6100546"/>
              <a:gd name="connsiteY692" fmla="*/ 1811511 h 5950684"/>
              <a:gd name="connsiteX693" fmla="*/ 5291350 w 6100546"/>
              <a:gd name="connsiteY693" fmla="*/ 1816115 h 5950684"/>
              <a:gd name="connsiteX694" fmla="*/ 5309773 w 6100546"/>
              <a:gd name="connsiteY694" fmla="*/ 1843751 h 5950684"/>
              <a:gd name="connsiteX695" fmla="*/ 5314379 w 6100546"/>
              <a:gd name="connsiteY695" fmla="*/ 1857568 h 5950684"/>
              <a:gd name="connsiteX696" fmla="*/ 5318985 w 6100546"/>
              <a:gd name="connsiteY696" fmla="*/ 1862173 h 5950684"/>
              <a:gd name="connsiteX697" fmla="*/ 5342013 w 6100546"/>
              <a:gd name="connsiteY697" fmla="*/ 1894413 h 5950684"/>
              <a:gd name="connsiteX698" fmla="*/ 5346619 w 6100546"/>
              <a:gd name="connsiteY698" fmla="*/ 1899019 h 5950684"/>
              <a:gd name="connsiteX699" fmla="*/ 5346619 w 6100546"/>
              <a:gd name="connsiteY699" fmla="*/ 1912836 h 5950684"/>
              <a:gd name="connsiteX700" fmla="*/ 5369648 w 6100546"/>
              <a:gd name="connsiteY700" fmla="*/ 1945075 h 5950684"/>
              <a:gd name="connsiteX701" fmla="*/ 5374253 w 6100546"/>
              <a:gd name="connsiteY701" fmla="*/ 1949681 h 5950684"/>
              <a:gd name="connsiteX702" fmla="*/ 5374253 w 6100546"/>
              <a:gd name="connsiteY702" fmla="*/ 1954287 h 5950684"/>
              <a:gd name="connsiteX703" fmla="*/ 5434128 w 6100546"/>
              <a:gd name="connsiteY703" fmla="*/ 2083247 h 5950684"/>
              <a:gd name="connsiteX704" fmla="*/ 5443339 w 6100546"/>
              <a:gd name="connsiteY704" fmla="*/ 2097064 h 5950684"/>
              <a:gd name="connsiteX705" fmla="*/ 5443340 w 6100546"/>
              <a:gd name="connsiteY705" fmla="*/ 2110881 h 5950684"/>
              <a:gd name="connsiteX706" fmla="*/ 5452551 w 6100546"/>
              <a:gd name="connsiteY706" fmla="*/ 2110881 h 5950684"/>
              <a:gd name="connsiteX707" fmla="*/ 5457156 w 6100546"/>
              <a:gd name="connsiteY707" fmla="*/ 2120092 h 5950684"/>
              <a:gd name="connsiteX708" fmla="*/ 5480186 w 6100546"/>
              <a:gd name="connsiteY708" fmla="*/ 2184572 h 5950684"/>
              <a:gd name="connsiteX709" fmla="*/ 5480185 w 6100546"/>
              <a:gd name="connsiteY709" fmla="*/ 2189177 h 5950684"/>
              <a:gd name="connsiteX710" fmla="*/ 5480185 w 6100546"/>
              <a:gd name="connsiteY710" fmla="*/ 2198388 h 5950684"/>
              <a:gd name="connsiteX711" fmla="*/ 5484791 w 6100546"/>
              <a:gd name="connsiteY711" fmla="*/ 2198389 h 5950684"/>
              <a:gd name="connsiteX712" fmla="*/ 5517031 w 6100546"/>
              <a:gd name="connsiteY712" fmla="*/ 2267474 h 5950684"/>
              <a:gd name="connsiteX713" fmla="*/ 5553877 w 6100546"/>
              <a:gd name="connsiteY713" fmla="*/ 2359588 h 5950684"/>
              <a:gd name="connsiteX714" fmla="*/ 5572300 w 6100546"/>
              <a:gd name="connsiteY714" fmla="*/ 2410251 h 5950684"/>
              <a:gd name="connsiteX715" fmla="*/ 5572300 w 6100546"/>
              <a:gd name="connsiteY715" fmla="*/ 2414857 h 5950684"/>
              <a:gd name="connsiteX716" fmla="*/ 5572300 w 6100546"/>
              <a:gd name="connsiteY716" fmla="*/ 2419462 h 5950684"/>
              <a:gd name="connsiteX717" fmla="*/ 5572300 w 6100546"/>
              <a:gd name="connsiteY717" fmla="*/ 2424068 h 5950684"/>
              <a:gd name="connsiteX718" fmla="*/ 5576905 w 6100546"/>
              <a:gd name="connsiteY718" fmla="*/ 2424068 h 5950684"/>
              <a:gd name="connsiteX719" fmla="*/ 5586117 w 6100546"/>
              <a:gd name="connsiteY719" fmla="*/ 2428674 h 5950684"/>
              <a:gd name="connsiteX720" fmla="*/ 5595327 w 6100546"/>
              <a:gd name="connsiteY720" fmla="*/ 2460913 h 5950684"/>
              <a:gd name="connsiteX721" fmla="*/ 5604540 w 6100546"/>
              <a:gd name="connsiteY721" fmla="*/ 2470125 h 5950684"/>
              <a:gd name="connsiteX722" fmla="*/ 5581511 w 6100546"/>
              <a:gd name="connsiteY722" fmla="*/ 2414857 h 5950684"/>
              <a:gd name="connsiteX723" fmla="*/ 5581511 w 6100546"/>
              <a:gd name="connsiteY723" fmla="*/ 2405645 h 5950684"/>
              <a:gd name="connsiteX724" fmla="*/ 5576905 w 6100546"/>
              <a:gd name="connsiteY724" fmla="*/ 2401039 h 5950684"/>
              <a:gd name="connsiteX725" fmla="*/ 5553876 w 6100546"/>
              <a:gd name="connsiteY725" fmla="*/ 2327348 h 5950684"/>
              <a:gd name="connsiteX726" fmla="*/ 5489397 w 6100546"/>
              <a:gd name="connsiteY726" fmla="*/ 2156937 h 5950684"/>
              <a:gd name="connsiteX727" fmla="*/ 5420311 w 6100546"/>
              <a:gd name="connsiteY727" fmla="*/ 1995738 h 5950684"/>
              <a:gd name="connsiteX728" fmla="*/ 5406495 w 6100546"/>
              <a:gd name="connsiteY728" fmla="*/ 1972710 h 5950684"/>
              <a:gd name="connsiteX729" fmla="*/ 5351225 w 6100546"/>
              <a:gd name="connsiteY729" fmla="*/ 1857568 h 5950684"/>
              <a:gd name="connsiteX730" fmla="*/ 5328197 w 6100546"/>
              <a:gd name="connsiteY730" fmla="*/ 1820722 h 5950684"/>
              <a:gd name="connsiteX731" fmla="*/ 5277533 w 6100546"/>
              <a:gd name="connsiteY731" fmla="*/ 1742425 h 5950684"/>
              <a:gd name="connsiteX732" fmla="*/ 5190025 w 6100546"/>
              <a:gd name="connsiteY732" fmla="*/ 1608860 h 5950684"/>
              <a:gd name="connsiteX733" fmla="*/ 5166996 w 6100546"/>
              <a:gd name="connsiteY733" fmla="*/ 1585832 h 5950684"/>
              <a:gd name="connsiteX734" fmla="*/ 5143968 w 6100546"/>
              <a:gd name="connsiteY734" fmla="*/ 1544381 h 5950684"/>
              <a:gd name="connsiteX735" fmla="*/ 5134756 w 6100546"/>
              <a:gd name="connsiteY735" fmla="*/ 1539775 h 5950684"/>
              <a:gd name="connsiteX736" fmla="*/ 5088699 w 6100546"/>
              <a:gd name="connsiteY736" fmla="*/ 1475295 h 5950684"/>
              <a:gd name="connsiteX737" fmla="*/ 5070276 w 6100546"/>
              <a:gd name="connsiteY737" fmla="*/ 1466084 h 5950684"/>
              <a:gd name="connsiteX738" fmla="*/ 5061064 w 6100546"/>
              <a:gd name="connsiteY738" fmla="*/ 1447660 h 5950684"/>
              <a:gd name="connsiteX739" fmla="*/ 4922893 w 6100546"/>
              <a:gd name="connsiteY739" fmla="*/ 1300279 h 5950684"/>
              <a:gd name="connsiteX740" fmla="*/ 4863018 w 6100546"/>
              <a:gd name="connsiteY740" fmla="*/ 1235799 h 5950684"/>
              <a:gd name="connsiteX741" fmla="*/ 4826172 w 6100546"/>
              <a:gd name="connsiteY741" fmla="*/ 1208165 h 5950684"/>
              <a:gd name="connsiteX742" fmla="*/ 4816961 w 6100546"/>
              <a:gd name="connsiteY742" fmla="*/ 1194348 h 5950684"/>
              <a:gd name="connsiteX743" fmla="*/ 4798538 w 6100546"/>
              <a:gd name="connsiteY743" fmla="*/ 1180532 h 5950684"/>
              <a:gd name="connsiteX744" fmla="*/ 4798538 w 6100546"/>
              <a:gd name="connsiteY744" fmla="*/ 1175925 h 5950684"/>
              <a:gd name="connsiteX745" fmla="*/ 4821567 w 6100546"/>
              <a:gd name="connsiteY745" fmla="*/ 1189742 h 5950684"/>
              <a:gd name="connsiteX746" fmla="*/ 4821567 w 6100546"/>
              <a:gd name="connsiteY746" fmla="*/ 1194348 h 5950684"/>
              <a:gd name="connsiteX747" fmla="*/ 4830778 w 6100546"/>
              <a:gd name="connsiteY747" fmla="*/ 1198954 h 5950684"/>
              <a:gd name="connsiteX748" fmla="*/ 4835384 w 6100546"/>
              <a:gd name="connsiteY748" fmla="*/ 1198954 h 5950684"/>
              <a:gd name="connsiteX749" fmla="*/ 4839989 w 6100546"/>
              <a:gd name="connsiteY749" fmla="*/ 1203559 h 5950684"/>
              <a:gd name="connsiteX750" fmla="*/ 4844595 w 6100546"/>
              <a:gd name="connsiteY750" fmla="*/ 1203559 h 5950684"/>
              <a:gd name="connsiteX751" fmla="*/ 4872230 w 6100546"/>
              <a:gd name="connsiteY751" fmla="*/ 1226588 h 5950684"/>
              <a:gd name="connsiteX752" fmla="*/ 4876836 w 6100546"/>
              <a:gd name="connsiteY752" fmla="*/ 1231193 h 5950684"/>
              <a:gd name="connsiteX753" fmla="*/ 4881441 w 6100546"/>
              <a:gd name="connsiteY753" fmla="*/ 1231194 h 5950684"/>
              <a:gd name="connsiteX754" fmla="*/ 4881441 w 6100546"/>
              <a:gd name="connsiteY754" fmla="*/ 1235799 h 5950684"/>
              <a:gd name="connsiteX755" fmla="*/ 4876835 w 6100546"/>
              <a:gd name="connsiteY755" fmla="*/ 1240405 h 5950684"/>
              <a:gd name="connsiteX756" fmla="*/ 4899864 w 6100546"/>
              <a:gd name="connsiteY756" fmla="*/ 1245010 h 5950684"/>
              <a:gd name="connsiteX757" fmla="*/ 4932104 w 6100546"/>
              <a:gd name="connsiteY757" fmla="*/ 1281856 h 5950684"/>
              <a:gd name="connsiteX758" fmla="*/ 4927498 w 6100546"/>
              <a:gd name="connsiteY758" fmla="*/ 1281856 h 5950684"/>
              <a:gd name="connsiteX759" fmla="*/ 4932104 w 6100546"/>
              <a:gd name="connsiteY759" fmla="*/ 1286462 h 5950684"/>
              <a:gd name="connsiteX760" fmla="*/ 4918287 w 6100546"/>
              <a:gd name="connsiteY760" fmla="*/ 1281856 h 5950684"/>
              <a:gd name="connsiteX761" fmla="*/ 4941315 w 6100546"/>
              <a:gd name="connsiteY761" fmla="*/ 1295673 h 5950684"/>
              <a:gd name="connsiteX762" fmla="*/ 4945921 w 6100546"/>
              <a:gd name="connsiteY762" fmla="*/ 1304885 h 5950684"/>
              <a:gd name="connsiteX763" fmla="*/ 4950527 w 6100546"/>
              <a:gd name="connsiteY763" fmla="*/ 1309491 h 5950684"/>
              <a:gd name="connsiteX764" fmla="*/ 4955133 w 6100546"/>
              <a:gd name="connsiteY764" fmla="*/ 1304885 h 5950684"/>
              <a:gd name="connsiteX765" fmla="*/ 4982767 w 6100546"/>
              <a:gd name="connsiteY765" fmla="*/ 1332519 h 5950684"/>
              <a:gd name="connsiteX766" fmla="*/ 4987373 w 6100546"/>
              <a:gd name="connsiteY766" fmla="*/ 1337124 h 5950684"/>
              <a:gd name="connsiteX767" fmla="*/ 4991979 w 6100546"/>
              <a:gd name="connsiteY767" fmla="*/ 1337124 h 5950684"/>
              <a:gd name="connsiteX768" fmla="*/ 5079487 w 6100546"/>
              <a:gd name="connsiteY768" fmla="*/ 1424633 h 5950684"/>
              <a:gd name="connsiteX769" fmla="*/ 5084093 w 6100546"/>
              <a:gd name="connsiteY769" fmla="*/ 1438450 h 5950684"/>
              <a:gd name="connsiteX770" fmla="*/ 5093305 w 6100546"/>
              <a:gd name="connsiteY770" fmla="*/ 1443055 h 5950684"/>
              <a:gd name="connsiteX771" fmla="*/ 5157784 w 6100546"/>
              <a:gd name="connsiteY771" fmla="*/ 1521352 h 5950684"/>
              <a:gd name="connsiteX772" fmla="*/ 5222265 w 6100546"/>
              <a:gd name="connsiteY772" fmla="*/ 1604255 h 5950684"/>
              <a:gd name="connsiteX773" fmla="*/ 5226870 w 6100546"/>
              <a:gd name="connsiteY773" fmla="*/ 1618072 h 5950684"/>
              <a:gd name="connsiteX774" fmla="*/ 5231476 w 6100546"/>
              <a:gd name="connsiteY774" fmla="*/ 1613466 h 5950684"/>
              <a:gd name="connsiteX775" fmla="*/ 5263716 w 6100546"/>
              <a:gd name="connsiteY775" fmla="*/ 1664129 h 5950684"/>
              <a:gd name="connsiteX776" fmla="*/ 5286745 w 6100546"/>
              <a:gd name="connsiteY776" fmla="*/ 1696368 h 5950684"/>
              <a:gd name="connsiteX777" fmla="*/ 5323590 w 6100546"/>
              <a:gd name="connsiteY777" fmla="*/ 1751637 h 5950684"/>
              <a:gd name="connsiteX778" fmla="*/ 5369648 w 6100546"/>
              <a:gd name="connsiteY778" fmla="*/ 1825328 h 5950684"/>
              <a:gd name="connsiteX779" fmla="*/ 5369648 w 6100546"/>
              <a:gd name="connsiteY779" fmla="*/ 1834539 h 5950684"/>
              <a:gd name="connsiteX780" fmla="*/ 5415705 w 6100546"/>
              <a:gd name="connsiteY780" fmla="*/ 1917442 h 5950684"/>
              <a:gd name="connsiteX781" fmla="*/ 5424916 w 6100546"/>
              <a:gd name="connsiteY781" fmla="*/ 1926653 h 5950684"/>
              <a:gd name="connsiteX782" fmla="*/ 5443339 w 6100546"/>
              <a:gd name="connsiteY782" fmla="*/ 1968104 h 5950684"/>
              <a:gd name="connsiteX783" fmla="*/ 5461762 w 6100546"/>
              <a:gd name="connsiteY783" fmla="*/ 1991132 h 5950684"/>
              <a:gd name="connsiteX784" fmla="*/ 5498608 w 6100546"/>
              <a:gd name="connsiteY784" fmla="*/ 2092458 h 5950684"/>
              <a:gd name="connsiteX785" fmla="*/ 5553877 w 6100546"/>
              <a:gd name="connsiteY785" fmla="*/ 2226023 h 5950684"/>
              <a:gd name="connsiteX786" fmla="*/ 5572300 w 6100546"/>
              <a:gd name="connsiteY786" fmla="*/ 2262868 h 5950684"/>
              <a:gd name="connsiteX787" fmla="*/ 5567694 w 6100546"/>
              <a:gd name="connsiteY787" fmla="*/ 2258262 h 5950684"/>
              <a:gd name="connsiteX788" fmla="*/ 5586117 w 6100546"/>
              <a:gd name="connsiteY788" fmla="*/ 2308925 h 5950684"/>
              <a:gd name="connsiteX789" fmla="*/ 5586117 w 6100546"/>
              <a:gd name="connsiteY789" fmla="*/ 2322742 h 5950684"/>
              <a:gd name="connsiteX790" fmla="*/ 5632173 w 6100546"/>
              <a:gd name="connsiteY790" fmla="*/ 2470124 h 5950684"/>
              <a:gd name="connsiteX791" fmla="*/ 5627568 w 6100546"/>
              <a:gd name="connsiteY791" fmla="*/ 2470124 h 5950684"/>
              <a:gd name="connsiteX792" fmla="*/ 5627568 w 6100546"/>
              <a:gd name="connsiteY792" fmla="*/ 2474730 h 5950684"/>
              <a:gd name="connsiteX793" fmla="*/ 5632172 w 6100546"/>
              <a:gd name="connsiteY793" fmla="*/ 2479336 h 5950684"/>
              <a:gd name="connsiteX794" fmla="*/ 5645991 w 6100546"/>
              <a:gd name="connsiteY794" fmla="*/ 2529999 h 5950684"/>
              <a:gd name="connsiteX795" fmla="*/ 5645991 w 6100546"/>
              <a:gd name="connsiteY795" fmla="*/ 2534604 h 5950684"/>
              <a:gd name="connsiteX796" fmla="*/ 5645991 w 6100546"/>
              <a:gd name="connsiteY796" fmla="*/ 2539210 h 5950684"/>
              <a:gd name="connsiteX797" fmla="*/ 5650597 w 6100546"/>
              <a:gd name="connsiteY797" fmla="*/ 2539210 h 5950684"/>
              <a:gd name="connsiteX798" fmla="*/ 5650597 w 6100546"/>
              <a:gd name="connsiteY798" fmla="*/ 2534604 h 5950684"/>
              <a:gd name="connsiteX799" fmla="*/ 5655202 w 6100546"/>
              <a:gd name="connsiteY799" fmla="*/ 2553027 h 5950684"/>
              <a:gd name="connsiteX800" fmla="*/ 5664414 w 6100546"/>
              <a:gd name="connsiteY800" fmla="*/ 2553026 h 5950684"/>
              <a:gd name="connsiteX801" fmla="*/ 5659808 w 6100546"/>
              <a:gd name="connsiteY801" fmla="*/ 2539210 h 5950684"/>
              <a:gd name="connsiteX802" fmla="*/ 5664414 w 6100546"/>
              <a:gd name="connsiteY802" fmla="*/ 2539210 h 5950684"/>
              <a:gd name="connsiteX803" fmla="*/ 5645991 w 6100546"/>
              <a:gd name="connsiteY803" fmla="*/ 2502365 h 5950684"/>
              <a:gd name="connsiteX804" fmla="*/ 5645991 w 6100546"/>
              <a:gd name="connsiteY804" fmla="*/ 2493153 h 5950684"/>
              <a:gd name="connsiteX805" fmla="*/ 5645991 w 6100546"/>
              <a:gd name="connsiteY805" fmla="*/ 2488548 h 5950684"/>
              <a:gd name="connsiteX806" fmla="*/ 5645991 w 6100546"/>
              <a:gd name="connsiteY806" fmla="*/ 2483941 h 5950684"/>
              <a:gd name="connsiteX807" fmla="*/ 5641384 w 6100546"/>
              <a:gd name="connsiteY807" fmla="*/ 2483942 h 5950684"/>
              <a:gd name="connsiteX808" fmla="*/ 5641385 w 6100546"/>
              <a:gd name="connsiteY808" fmla="*/ 2474730 h 5950684"/>
              <a:gd name="connsiteX809" fmla="*/ 5650597 w 6100546"/>
              <a:gd name="connsiteY809" fmla="*/ 2479337 h 5950684"/>
              <a:gd name="connsiteX810" fmla="*/ 5645991 w 6100546"/>
              <a:gd name="connsiteY810" fmla="*/ 2465519 h 5950684"/>
              <a:gd name="connsiteX811" fmla="*/ 5645991 w 6100546"/>
              <a:gd name="connsiteY811" fmla="*/ 2460912 h 5950684"/>
              <a:gd name="connsiteX812" fmla="*/ 5645991 w 6100546"/>
              <a:gd name="connsiteY812" fmla="*/ 2456307 h 5950684"/>
              <a:gd name="connsiteX813" fmla="*/ 5645991 w 6100546"/>
              <a:gd name="connsiteY813" fmla="*/ 2451702 h 5950684"/>
              <a:gd name="connsiteX814" fmla="*/ 5641384 w 6100546"/>
              <a:gd name="connsiteY814" fmla="*/ 2433279 h 5950684"/>
              <a:gd name="connsiteX815" fmla="*/ 5636779 w 6100546"/>
              <a:gd name="connsiteY815" fmla="*/ 2428674 h 5950684"/>
              <a:gd name="connsiteX816" fmla="*/ 5636779 w 6100546"/>
              <a:gd name="connsiteY816" fmla="*/ 2424067 h 5950684"/>
              <a:gd name="connsiteX817" fmla="*/ 5636779 w 6100546"/>
              <a:gd name="connsiteY817" fmla="*/ 2428674 h 5950684"/>
              <a:gd name="connsiteX818" fmla="*/ 5622963 w 6100546"/>
              <a:gd name="connsiteY818" fmla="*/ 2382617 h 5950684"/>
              <a:gd name="connsiteX819" fmla="*/ 5622962 w 6100546"/>
              <a:gd name="connsiteY819" fmla="*/ 2373405 h 5950684"/>
              <a:gd name="connsiteX820" fmla="*/ 5618357 w 6100546"/>
              <a:gd name="connsiteY820" fmla="*/ 2373404 h 5950684"/>
              <a:gd name="connsiteX821" fmla="*/ 5604540 w 6100546"/>
              <a:gd name="connsiteY821" fmla="*/ 2331954 h 5950684"/>
              <a:gd name="connsiteX822" fmla="*/ 5599934 w 6100546"/>
              <a:gd name="connsiteY822" fmla="*/ 2331954 h 5950684"/>
              <a:gd name="connsiteX823" fmla="*/ 5599934 w 6100546"/>
              <a:gd name="connsiteY823" fmla="*/ 2327348 h 5950684"/>
              <a:gd name="connsiteX824" fmla="*/ 5604539 w 6100546"/>
              <a:gd name="connsiteY824" fmla="*/ 2327348 h 5950684"/>
              <a:gd name="connsiteX825" fmla="*/ 5604540 w 6100546"/>
              <a:gd name="connsiteY825" fmla="*/ 2322742 h 5950684"/>
              <a:gd name="connsiteX826" fmla="*/ 5599934 w 6100546"/>
              <a:gd name="connsiteY826" fmla="*/ 2318137 h 5950684"/>
              <a:gd name="connsiteX827" fmla="*/ 5558482 w 6100546"/>
              <a:gd name="connsiteY827" fmla="*/ 2189178 h 5950684"/>
              <a:gd name="connsiteX828" fmla="*/ 5549271 w 6100546"/>
              <a:gd name="connsiteY828" fmla="*/ 2152332 h 5950684"/>
              <a:gd name="connsiteX829" fmla="*/ 5535454 w 6100546"/>
              <a:gd name="connsiteY829" fmla="*/ 2129303 h 5950684"/>
              <a:gd name="connsiteX830" fmla="*/ 5517031 w 6100546"/>
              <a:gd name="connsiteY830" fmla="*/ 2092458 h 5950684"/>
              <a:gd name="connsiteX831" fmla="*/ 5388072 w 6100546"/>
              <a:gd name="connsiteY831" fmla="*/ 1825328 h 5950684"/>
              <a:gd name="connsiteX832" fmla="*/ 5392676 w 6100546"/>
              <a:gd name="connsiteY832" fmla="*/ 1816116 h 5950684"/>
              <a:gd name="connsiteX833" fmla="*/ 5392677 w 6100546"/>
              <a:gd name="connsiteY833" fmla="*/ 1820721 h 5950684"/>
              <a:gd name="connsiteX834" fmla="*/ 5397282 w 6100546"/>
              <a:gd name="connsiteY834" fmla="*/ 1820722 h 5950684"/>
              <a:gd name="connsiteX835" fmla="*/ 5392676 w 6100546"/>
              <a:gd name="connsiteY835" fmla="*/ 1811511 h 5950684"/>
              <a:gd name="connsiteX836" fmla="*/ 5392676 w 6100546"/>
              <a:gd name="connsiteY836" fmla="*/ 1797694 h 5950684"/>
              <a:gd name="connsiteX837" fmla="*/ 5374253 w 6100546"/>
              <a:gd name="connsiteY837" fmla="*/ 1783876 h 5950684"/>
              <a:gd name="connsiteX838" fmla="*/ 5374253 w 6100546"/>
              <a:gd name="connsiteY838" fmla="*/ 1779272 h 5950684"/>
              <a:gd name="connsiteX839" fmla="*/ 5369648 w 6100546"/>
              <a:gd name="connsiteY839" fmla="*/ 1774665 h 5950684"/>
              <a:gd name="connsiteX840" fmla="*/ 5369648 w 6100546"/>
              <a:gd name="connsiteY840" fmla="*/ 1770060 h 5950684"/>
              <a:gd name="connsiteX841" fmla="*/ 5365042 w 6100546"/>
              <a:gd name="connsiteY841" fmla="*/ 1770060 h 5950684"/>
              <a:gd name="connsiteX842" fmla="*/ 5360436 w 6100546"/>
              <a:gd name="connsiteY842" fmla="*/ 1760848 h 5950684"/>
              <a:gd name="connsiteX843" fmla="*/ 5351226 w 6100546"/>
              <a:gd name="connsiteY843" fmla="*/ 1737820 h 5950684"/>
              <a:gd name="connsiteX844" fmla="*/ 5355831 w 6100546"/>
              <a:gd name="connsiteY844" fmla="*/ 1737820 h 5950684"/>
              <a:gd name="connsiteX845" fmla="*/ 5360437 w 6100546"/>
              <a:gd name="connsiteY845" fmla="*/ 1742425 h 5950684"/>
              <a:gd name="connsiteX846" fmla="*/ 5355831 w 6100546"/>
              <a:gd name="connsiteY846" fmla="*/ 1733214 h 5950684"/>
              <a:gd name="connsiteX847" fmla="*/ 5351225 w 6100546"/>
              <a:gd name="connsiteY847" fmla="*/ 1728608 h 5950684"/>
              <a:gd name="connsiteX848" fmla="*/ 5337408 w 6100546"/>
              <a:gd name="connsiteY848" fmla="*/ 1710186 h 5950684"/>
              <a:gd name="connsiteX849" fmla="*/ 5337408 w 6100546"/>
              <a:gd name="connsiteY849" fmla="*/ 1705580 h 5950684"/>
              <a:gd name="connsiteX850" fmla="*/ 5332803 w 6100546"/>
              <a:gd name="connsiteY850" fmla="*/ 1696368 h 5950684"/>
              <a:gd name="connsiteX851" fmla="*/ 5328196 w 6100546"/>
              <a:gd name="connsiteY851" fmla="*/ 1696368 h 5950684"/>
              <a:gd name="connsiteX852" fmla="*/ 5328196 w 6100546"/>
              <a:gd name="connsiteY852" fmla="*/ 1700974 h 5950684"/>
              <a:gd name="connsiteX853" fmla="*/ 5323591 w 6100546"/>
              <a:gd name="connsiteY853" fmla="*/ 1687157 h 5950684"/>
              <a:gd name="connsiteX854" fmla="*/ 5314379 w 6100546"/>
              <a:gd name="connsiteY854" fmla="*/ 1687157 h 5950684"/>
              <a:gd name="connsiteX855" fmla="*/ 5314379 w 6100546"/>
              <a:gd name="connsiteY855" fmla="*/ 1677946 h 5950684"/>
              <a:gd name="connsiteX856" fmla="*/ 5309773 w 6100546"/>
              <a:gd name="connsiteY856" fmla="*/ 1673340 h 5950684"/>
              <a:gd name="connsiteX857" fmla="*/ 5309773 w 6100546"/>
              <a:gd name="connsiteY857" fmla="*/ 1668734 h 5950684"/>
              <a:gd name="connsiteX858" fmla="*/ 5305168 w 6100546"/>
              <a:gd name="connsiteY858" fmla="*/ 1668734 h 5950684"/>
              <a:gd name="connsiteX859" fmla="*/ 5305168 w 6100546"/>
              <a:gd name="connsiteY859" fmla="*/ 1673340 h 5950684"/>
              <a:gd name="connsiteX860" fmla="*/ 5268323 w 6100546"/>
              <a:gd name="connsiteY860" fmla="*/ 1622678 h 5950684"/>
              <a:gd name="connsiteX861" fmla="*/ 5263716 w 6100546"/>
              <a:gd name="connsiteY861" fmla="*/ 1613466 h 5950684"/>
              <a:gd name="connsiteX862" fmla="*/ 5254506 w 6100546"/>
              <a:gd name="connsiteY862" fmla="*/ 1608860 h 5950684"/>
              <a:gd name="connsiteX863" fmla="*/ 5254505 w 6100546"/>
              <a:gd name="connsiteY863" fmla="*/ 1612476 h 5950684"/>
              <a:gd name="connsiteX864" fmla="*/ 5242703 w 6100546"/>
              <a:gd name="connsiteY864" fmla="*/ 1598138 h 5950684"/>
              <a:gd name="connsiteX865" fmla="*/ 5203842 w 6100546"/>
              <a:gd name="connsiteY865" fmla="*/ 1544381 h 5950684"/>
              <a:gd name="connsiteX866" fmla="*/ 5180813 w 6100546"/>
              <a:gd name="connsiteY866" fmla="*/ 1530563 h 5950684"/>
              <a:gd name="connsiteX867" fmla="*/ 5180813 w 6100546"/>
              <a:gd name="connsiteY867" fmla="*/ 1516747 h 5950684"/>
              <a:gd name="connsiteX868" fmla="*/ 5157784 w 6100546"/>
              <a:gd name="connsiteY868" fmla="*/ 1489112 h 5950684"/>
              <a:gd name="connsiteX869" fmla="*/ 5139362 w 6100546"/>
              <a:gd name="connsiteY869" fmla="*/ 1479901 h 5950684"/>
              <a:gd name="connsiteX870" fmla="*/ 5125544 w 6100546"/>
              <a:gd name="connsiteY870" fmla="*/ 1456872 h 5950684"/>
              <a:gd name="connsiteX871" fmla="*/ 5130150 w 6100546"/>
              <a:gd name="connsiteY871" fmla="*/ 1456872 h 5950684"/>
              <a:gd name="connsiteX872" fmla="*/ 5139362 w 6100546"/>
              <a:gd name="connsiteY872" fmla="*/ 1461478 h 5950684"/>
              <a:gd name="connsiteX873" fmla="*/ 5134756 w 6100546"/>
              <a:gd name="connsiteY873" fmla="*/ 1452267 h 5950684"/>
              <a:gd name="connsiteX874" fmla="*/ 5130150 w 6100546"/>
              <a:gd name="connsiteY874" fmla="*/ 1447661 h 5950684"/>
              <a:gd name="connsiteX875" fmla="*/ 5143967 w 6100546"/>
              <a:gd name="connsiteY875" fmla="*/ 1456872 h 5950684"/>
              <a:gd name="connsiteX876" fmla="*/ 5125544 w 6100546"/>
              <a:gd name="connsiteY876" fmla="*/ 1438450 h 5950684"/>
              <a:gd name="connsiteX877" fmla="*/ 5120939 w 6100546"/>
              <a:gd name="connsiteY877" fmla="*/ 1433844 h 5950684"/>
              <a:gd name="connsiteX878" fmla="*/ 5107121 w 6100546"/>
              <a:gd name="connsiteY878" fmla="*/ 1424633 h 5950684"/>
              <a:gd name="connsiteX879" fmla="*/ 5111727 w 6100546"/>
              <a:gd name="connsiteY879" fmla="*/ 1433845 h 5950684"/>
              <a:gd name="connsiteX880" fmla="*/ 5111727 w 6100546"/>
              <a:gd name="connsiteY880" fmla="*/ 1438450 h 5950684"/>
              <a:gd name="connsiteX881" fmla="*/ 5097910 w 6100546"/>
              <a:gd name="connsiteY881" fmla="*/ 1424633 h 5950684"/>
              <a:gd name="connsiteX882" fmla="*/ 5102516 w 6100546"/>
              <a:gd name="connsiteY882" fmla="*/ 1443055 h 5950684"/>
              <a:gd name="connsiteX883" fmla="*/ 5084093 w 6100546"/>
              <a:gd name="connsiteY883" fmla="*/ 1410816 h 5950684"/>
              <a:gd name="connsiteX884" fmla="*/ 5088700 w 6100546"/>
              <a:gd name="connsiteY884" fmla="*/ 1415421 h 5950684"/>
              <a:gd name="connsiteX885" fmla="*/ 5097910 w 6100546"/>
              <a:gd name="connsiteY885" fmla="*/ 1415421 h 5950684"/>
              <a:gd name="connsiteX886" fmla="*/ 5088699 w 6100546"/>
              <a:gd name="connsiteY886" fmla="*/ 1406211 h 5950684"/>
              <a:gd name="connsiteX887" fmla="*/ 5088699 w 6100546"/>
              <a:gd name="connsiteY887" fmla="*/ 1401604 h 5950684"/>
              <a:gd name="connsiteX888" fmla="*/ 5088700 w 6100546"/>
              <a:gd name="connsiteY888" fmla="*/ 1396998 h 5950684"/>
              <a:gd name="connsiteX889" fmla="*/ 5093304 w 6100546"/>
              <a:gd name="connsiteY889" fmla="*/ 1396998 h 5950684"/>
              <a:gd name="connsiteX890" fmla="*/ 5084093 w 6100546"/>
              <a:gd name="connsiteY890" fmla="*/ 1392393 h 5950684"/>
              <a:gd name="connsiteX891" fmla="*/ 5079487 w 6100546"/>
              <a:gd name="connsiteY891" fmla="*/ 1387787 h 5950684"/>
              <a:gd name="connsiteX892" fmla="*/ 5070277 w 6100546"/>
              <a:gd name="connsiteY892" fmla="*/ 1369364 h 5950684"/>
              <a:gd name="connsiteX893" fmla="*/ 5074881 w 6100546"/>
              <a:gd name="connsiteY893" fmla="*/ 1373970 h 5950684"/>
              <a:gd name="connsiteX894" fmla="*/ 5084093 w 6100546"/>
              <a:gd name="connsiteY894" fmla="*/ 1378576 h 5950684"/>
              <a:gd name="connsiteX895" fmla="*/ 5074881 w 6100546"/>
              <a:gd name="connsiteY895" fmla="*/ 1364759 h 5950684"/>
              <a:gd name="connsiteX896" fmla="*/ 5070276 w 6100546"/>
              <a:gd name="connsiteY896" fmla="*/ 1360153 h 5950684"/>
              <a:gd name="connsiteX897" fmla="*/ 5065670 w 6100546"/>
              <a:gd name="connsiteY897" fmla="*/ 1355547 h 5950684"/>
              <a:gd name="connsiteX898" fmla="*/ 5056459 w 6100546"/>
              <a:gd name="connsiteY898" fmla="*/ 1355548 h 5950684"/>
              <a:gd name="connsiteX899" fmla="*/ 5061064 w 6100546"/>
              <a:gd name="connsiteY899" fmla="*/ 1364759 h 5950684"/>
              <a:gd name="connsiteX900" fmla="*/ 5065670 w 6100546"/>
              <a:gd name="connsiteY900" fmla="*/ 1364759 h 5950684"/>
              <a:gd name="connsiteX901" fmla="*/ 5070277 w 6100546"/>
              <a:gd name="connsiteY901" fmla="*/ 1369364 h 5950684"/>
              <a:gd name="connsiteX902" fmla="*/ 5074881 w 6100546"/>
              <a:gd name="connsiteY902" fmla="*/ 1387787 h 5950684"/>
              <a:gd name="connsiteX903" fmla="*/ 5070276 w 6100546"/>
              <a:gd name="connsiteY903" fmla="*/ 1383181 h 5950684"/>
              <a:gd name="connsiteX904" fmla="*/ 5070277 w 6100546"/>
              <a:gd name="connsiteY904" fmla="*/ 1387787 h 5950684"/>
              <a:gd name="connsiteX905" fmla="*/ 5070276 w 6100546"/>
              <a:gd name="connsiteY905" fmla="*/ 1392392 h 5950684"/>
              <a:gd name="connsiteX906" fmla="*/ 5074881 w 6100546"/>
              <a:gd name="connsiteY906" fmla="*/ 1392392 h 5950684"/>
              <a:gd name="connsiteX907" fmla="*/ 5079487 w 6100546"/>
              <a:gd name="connsiteY907" fmla="*/ 1396999 h 5950684"/>
              <a:gd name="connsiteX908" fmla="*/ 5074881 w 6100546"/>
              <a:gd name="connsiteY908" fmla="*/ 1396998 h 5950684"/>
              <a:gd name="connsiteX909" fmla="*/ 5079487 w 6100546"/>
              <a:gd name="connsiteY909" fmla="*/ 1401604 h 5950684"/>
              <a:gd name="connsiteX910" fmla="*/ 5079487 w 6100546"/>
              <a:gd name="connsiteY910" fmla="*/ 1406210 h 5950684"/>
              <a:gd name="connsiteX911" fmla="*/ 5047247 w 6100546"/>
              <a:gd name="connsiteY911" fmla="*/ 1373970 h 5950684"/>
              <a:gd name="connsiteX912" fmla="*/ 5051853 w 6100546"/>
              <a:gd name="connsiteY912" fmla="*/ 1373970 h 5950684"/>
              <a:gd name="connsiteX913" fmla="*/ 5056459 w 6100546"/>
              <a:gd name="connsiteY913" fmla="*/ 1373970 h 5950684"/>
              <a:gd name="connsiteX914" fmla="*/ 5051853 w 6100546"/>
              <a:gd name="connsiteY914" fmla="*/ 1369364 h 5950684"/>
              <a:gd name="connsiteX915" fmla="*/ 5047247 w 6100546"/>
              <a:gd name="connsiteY915" fmla="*/ 1369364 h 5950684"/>
              <a:gd name="connsiteX916" fmla="*/ 5042641 w 6100546"/>
              <a:gd name="connsiteY916" fmla="*/ 1364759 h 5950684"/>
              <a:gd name="connsiteX917" fmla="*/ 5033430 w 6100546"/>
              <a:gd name="connsiteY917" fmla="*/ 1346336 h 5950684"/>
              <a:gd name="connsiteX918" fmla="*/ 5033430 w 6100546"/>
              <a:gd name="connsiteY918" fmla="*/ 1341730 h 5950684"/>
              <a:gd name="connsiteX919" fmla="*/ 5028824 w 6100546"/>
              <a:gd name="connsiteY919" fmla="*/ 1337124 h 5950684"/>
              <a:gd name="connsiteX920" fmla="*/ 5024218 w 6100546"/>
              <a:gd name="connsiteY920" fmla="*/ 1337124 h 5950684"/>
              <a:gd name="connsiteX921" fmla="*/ 5024218 w 6100546"/>
              <a:gd name="connsiteY921" fmla="*/ 1341730 h 5950684"/>
              <a:gd name="connsiteX922" fmla="*/ 5005796 w 6100546"/>
              <a:gd name="connsiteY922" fmla="*/ 1318702 h 5950684"/>
              <a:gd name="connsiteX923" fmla="*/ 5001190 w 6100546"/>
              <a:gd name="connsiteY923" fmla="*/ 1314096 h 5950684"/>
              <a:gd name="connsiteX924" fmla="*/ 4996584 w 6100546"/>
              <a:gd name="connsiteY924" fmla="*/ 1314096 h 5950684"/>
              <a:gd name="connsiteX925" fmla="*/ 4996584 w 6100546"/>
              <a:gd name="connsiteY925" fmla="*/ 1318703 h 5950684"/>
              <a:gd name="connsiteX926" fmla="*/ 4978161 w 6100546"/>
              <a:gd name="connsiteY926" fmla="*/ 1309490 h 5950684"/>
              <a:gd name="connsiteX927" fmla="*/ 4922893 w 6100546"/>
              <a:gd name="connsiteY927" fmla="*/ 1240405 h 5950684"/>
              <a:gd name="connsiteX928" fmla="*/ 4918288 w 6100546"/>
              <a:gd name="connsiteY928" fmla="*/ 1245010 h 5950684"/>
              <a:gd name="connsiteX929" fmla="*/ 4918287 w 6100546"/>
              <a:gd name="connsiteY929" fmla="*/ 1240405 h 5950684"/>
              <a:gd name="connsiteX930" fmla="*/ 4913681 w 6100546"/>
              <a:gd name="connsiteY930" fmla="*/ 1235799 h 5950684"/>
              <a:gd name="connsiteX931" fmla="*/ 4913681 w 6100546"/>
              <a:gd name="connsiteY931" fmla="*/ 1240405 h 5950684"/>
              <a:gd name="connsiteX932" fmla="*/ 4886048 w 6100546"/>
              <a:gd name="connsiteY932" fmla="*/ 1198954 h 5950684"/>
              <a:gd name="connsiteX933" fmla="*/ 4876835 w 6100546"/>
              <a:gd name="connsiteY933" fmla="*/ 1203559 h 5950684"/>
              <a:gd name="connsiteX934" fmla="*/ 4872230 w 6100546"/>
              <a:gd name="connsiteY934" fmla="*/ 1194348 h 5950684"/>
              <a:gd name="connsiteX935" fmla="*/ 4863018 w 6100546"/>
              <a:gd name="connsiteY935" fmla="*/ 1185137 h 5950684"/>
              <a:gd name="connsiteX936" fmla="*/ 4867624 w 6100546"/>
              <a:gd name="connsiteY936" fmla="*/ 1185137 h 5950684"/>
              <a:gd name="connsiteX937" fmla="*/ 4867624 w 6100546"/>
              <a:gd name="connsiteY937" fmla="*/ 1180530 h 5950684"/>
              <a:gd name="connsiteX938" fmla="*/ 4858412 w 6100546"/>
              <a:gd name="connsiteY938" fmla="*/ 1175925 h 5950684"/>
              <a:gd name="connsiteX939" fmla="*/ 4853807 w 6100546"/>
              <a:gd name="connsiteY939" fmla="*/ 1175925 h 5950684"/>
              <a:gd name="connsiteX940" fmla="*/ 4821567 w 6100546"/>
              <a:gd name="connsiteY940" fmla="*/ 1148291 h 5950684"/>
              <a:gd name="connsiteX941" fmla="*/ 4830778 w 6100546"/>
              <a:gd name="connsiteY941" fmla="*/ 1162108 h 5950684"/>
              <a:gd name="connsiteX942" fmla="*/ 4849201 w 6100546"/>
              <a:gd name="connsiteY942" fmla="*/ 1171319 h 5950684"/>
              <a:gd name="connsiteX943" fmla="*/ 4844595 w 6100546"/>
              <a:gd name="connsiteY943" fmla="*/ 1166714 h 5950684"/>
              <a:gd name="connsiteX944" fmla="*/ 4839989 w 6100546"/>
              <a:gd name="connsiteY944" fmla="*/ 1166714 h 5950684"/>
              <a:gd name="connsiteX945" fmla="*/ 4839989 w 6100546"/>
              <a:gd name="connsiteY945" fmla="*/ 1171319 h 5950684"/>
              <a:gd name="connsiteX946" fmla="*/ 4844595 w 6100546"/>
              <a:gd name="connsiteY946" fmla="*/ 1175925 h 5950684"/>
              <a:gd name="connsiteX947" fmla="*/ 4839990 w 6100546"/>
              <a:gd name="connsiteY947" fmla="*/ 1175925 h 5950684"/>
              <a:gd name="connsiteX948" fmla="*/ 4835384 w 6100546"/>
              <a:gd name="connsiteY948" fmla="*/ 1171320 h 5950684"/>
              <a:gd name="connsiteX949" fmla="*/ 4835384 w 6100546"/>
              <a:gd name="connsiteY949" fmla="*/ 1175925 h 5950684"/>
              <a:gd name="connsiteX950" fmla="*/ 4839989 w 6100546"/>
              <a:gd name="connsiteY950" fmla="*/ 1180531 h 5950684"/>
              <a:gd name="connsiteX951" fmla="*/ 4844596 w 6100546"/>
              <a:gd name="connsiteY951" fmla="*/ 1185137 h 5950684"/>
              <a:gd name="connsiteX952" fmla="*/ 4835385 w 6100546"/>
              <a:gd name="connsiteY952" fmla="*/ 1180531 h 5950684"/>
              <a:gd name="connsiteX953" fmla="*/ 4830778 w 6100546"/>
              <a:gd name="connsiteY953" fmla="*/ 1175925 h 5950684"/>
              <a:gd name="connsiteX954" fmla="*/ 4826172 w 6100546"/>
              <a:gd name="connsiteY954" fmla="*/ 1171319 h 5950684"/>
              <a:gd name="connsiteX955" fmla="*/ 4816961 w 6100546"/>
              <a:gd name="connsiteY955" fmla="*/ 1162108 h 5950684"/>
              <a:gd name="connsiteX956" fmla="*/ 4816961 w 6100546"/>
              <a:gd name="connsiteY956" fmla="*/ 1171319 h 5950684"/>
              <a:gd name="connsiteX957" fmla="*/ 4816961 w 6100546"/>
              <a:gd name="connsiteY957" fmla="*/ 1175925 h 5950684"/>
              <a:gd name="connsiteX958" fmla="*/ 4798538 w 6100546"/>
              <a:gd name="connsiteY958" fmla="*/ 1152898 h 5950684"/>
              <a:gd name="connsiteX959" fmla="*/ 4803144 w 6100546"/>
              <a:gd name="connsiteY959" fmla="*/ 1152897 h 5950684"/>
              <a:gd name="connsiteX960" fmla="*/ 4803144 w 6100546"/>
              <a:gd name="connsiteY960" fmla="*/ 1148291 h 5950684"/>
              <a:gd name="connsiteX961" fmla="*/ 4798538 w 6100546"/>
              <a:gd name="connsiteY961" fmla="*/ 1148291 h 5950684"/>
              <a:gd name="connsiteX962" fmla="*/ 4793932 w 6100546"/>
              <a:gd name="connsiteY962" fmla="*/ 1148291 h 5950684"/>
              <a:gd name="connsiteX963" fmla="*/ 4789327 w 6100546"/>
              <a:gd name="connsiteY963" fmla="*/ 1143685 h 5950684"/>
              <a:gd name="connsiteX964" fmla="*/ 4775509 w 6100546"/>
              <a:gd name="connsiteY964" fmla="*/ 1129868 h 5950684"/>
              <a:gd name="connsiteX965" fmla="*/ 4747875 w 6100546"/>
              <a:gd name="connsiteY965" fmla="*/ 1129868 h 5950684"/>
              <a:gd name="connsiteX966" fmla="*/ 4770904 w 6100546"/>
              <a:gd name="connsiteY966" fmla="*/ 1143685 h 5950684"/>
              <a:gd name="connsiteX967" fmla="*/ 4761692 w 6100546"/>
              <a:gd name="connsiteY967" fmla="*/ 1143685 h 5950684"/>
              <a:gd name="connsiteX968" fmla="*/ 4761692 w 6100546"/>
              <a:gd name="connsiteY968" fmla="*/ 1148291 h 5950684"/>
              <a:gd name="connsiteX969" fmla="*/ 4724846 w 6100546"/>
              <a:gd name="connsiteY969" fmla="*/ 1111445 h 5950684"/>
              <a:gd name="connsiteX970" fmla="*/ 4683983 w 6100546"/>
              <a:gd name="connsiteY970" fmla="*/ 1071646 h 5950684"/>
              <a:gd name="connsiteX971" fmla="*/ 4696187 w 6100546"/>
              <a:gd name="connsiteY971" fmla="*/ 1083818 h 5950684"/>
              <a:gd name="connsiteX972" fmla="*/ 4697212 w 6100546"/>
              <a:gd name="connsiteY972" fmla="*/ 1079206 h 5950684"/>
              <a:gd name="connsiteX973" fmla="*/ 4658711 w 6100546"/>
              <a:gd name="connsiteY973" fmla="*/ 1045886 h 5950684"/>
              <a:gd name="connsiteX974" fmla="*/ 4658938 w 6100546"/>
              <a:gd name="connsiteY974" fmla="*/ 1046667 h 5950684"/>
              <a:gd name="connsiteX975" fmla="*/ 4680682 w 6100546"/>
              <a:gd name="connsiteY975" fmla="*/ 1068354 h 5950684"/>
              <a:gd name="connsiteX976" fmla="*/ 4678790 w 6100546"/>
              <a:gd name="connsiteY976" fmla="*/ 1060784 h 5950684"/>
              <a:gd name="connsiteX977" fmla="*/ 4658711 w 6100546"/>
              <a:gd name="connsiteY977" fmla="*/ 1045886 h 5950684"/>
              <a:gd name="connsiteX978" fmla="*/ 4606321 w 6100546"/>
              <a:gd name="connsiteY978" fmla="*/ 1002574 h 5950684"/>
              <a:gd name="connsiteX979" fmla="*/ 4622386 w 6100546"/>
              <a:gd name="connsiteY979" fmla="*/ 1014210 h 5950684"/>
              <a:gd name="connsiteX980" fmla="*/ 4623521 w 6100546"/>
              <a:gd name="connsiteY980" fmla="*/ 1014726 h 5950684"/>
              <a:gd name="connsiteX981" fmla="*/ 4625380 w 6100546"/>
              <a:gd name="connsiteY981" fmla="*/ 1016379 h 5950684"/>
              <a:gd name="connsiteX982" fmla="*/ 4629000 w 6100546"/>
              <a:gd name="connsiteY982" fmla="*/ 1019001 h 5950684"/>
              <a:gd name="connsiteX983" fmla="*/ 4629349 w 6100546"/>
              <a:gd name="connsiteY983" fmla="*/ 1018612 h 5950684"/>
              <a:gd name="connsiteX984" fmla="*/ 4623520 w 6100546"/>
              <a:gd name="connsiteY984" fmla="*/ 1010120 h 5950684"/>
              <a:gd name="connsiteX985" fmla="*/ 4631581 w 6100546"/>
              <a:gd name="connsiteY985" fmla="*/ 1015302 h 5950684"/>
              <a:gd name="connsiteX986" fmla="*/ 4632702 w 6100546"/>
              <a:gd name="connsiteY986" fmla="*/ 1010258 h 5950684"/>
              <a:gd name="connsiteX987" fmla="*/ 4632443 w 6100546"/>
              <a:gd name="connsiteY987" fmla="*/ 1010037 h 5950684"/>
              <a:gd name="connsiteX988" fmla="*/ 4553154 w 6100546"/>
              <a:gd name="connsiteY988" fmla="*/ 964063 h 5950684"/>
              <a:gd name="connsiteX989" fmla="*/ 4574509 w 6100546"/>
              <a:gd name="connsiteY989" fmla="*/ 979532 h 5950684"/>
              <a:gd name="connsiteX990" fmla="*/ 4572858 w 6100546"/>
              <a:gd name="connsiteY990" fmla="*/ 977880 h 5950684"/>
              <a:gd name="connsiteX991" fmla="*/ 4554434 w 6100546"/>
              <a:gd name="connsiteY991" fmla="*/ 964063 h 5950684"/>
              <a:gd name="connsiteX992" fmla="*/ 4531406 w 6100546"/>
              <a:gd name="connsiteY992" fmla="*/ 941035 h 5950684"/>
              <a:gd name="connsiteX993" fmla="*/ 4527186 w 6100546"/>
              <a:gd name="connsiteY993" fmla="*/ 945254 h 5950684"/>
              <a:gd name="connsiteX994" fmla="*/ 4541093 w 6100546"/>
              <a:gd name="connsiteY994" fmla="*/ 955327 h 5950684"/>
              <a:gd name="connsiteX995" fmla="*/ 4536012 w 6100546"/>
              <a:gd name="connsiteY995" fmla="*/ 950246 h 5950684"/>
              <a:gd name="connsiteX996" fmla="*/ 4536012 w 6100546"/>
              <a:gd name="connsiteY996" fmla="*/ 945640 h 5950684"/>
              <a:gd name="connsiteX997" fmla="*/ 4531406 w 6100546"/>
              <a:gd name="connsiteY997" fmla="*/ 941035 h 5950684"/>
              <a:gd name="connsiteX998" fmla="*/ 3975166 w 6100546"/>
              <a:gd name="connsiteY998" fmla="*/ 638880 h 5950684"/>
              <a:gd name="connsiteX999" fmla="*/ 4119482 w 6100546"/>
              <a:gd name="connsiteY999" fmla="*/ 702588 h 5950684"/>
              <a:gd name="connsiteX1000" fmla="*/ 4219629 w 6100546"/>
              <a:gd name="connsiteY1000" fmla="*/ 751511 h 5950684"/>
              <a:gd name="connsiteX1001" fmla="*/ 4249652 w 6100546"/>
              <a:gd name="connsiteY1001" fmla="*/ 756373 h 5950684"/>
              <a:gd name="connsiteX1002" fmla="*/ 4169192 w 6100546"/>
              <a:gd name="connsiteY1002" fmla="*/ 708446 h 5950684"/>
              <a:gd name="connsiteX1003" fmla="*/ 4160618 w 6100546"/>
              <a:gd name="connsiteY1003" fmla="*/ 701438 h 5950684"/>
              <a:gd name="connsiteX1004" fmla="*/ 4103065 w 6100546"/>
              <a:gd name="connsiteY1004" fmla="*/ 678846 h 5950684"/>
              <a:gd name="connsiteX1005" fmla="*/ 3094419 w 6100546"/>
              <a:gd name="connsiteY1005" fmla="*/ 356112 h 5950684"/>
              <a:gd name="connsiteX1006" fmla="*/ 3093392 w 6100546"/>
              <a:gd name="connsiteY1006" fmla="*/ 356160 h 5950684"/>
              <a:gd name="connsiteX1007" fmla="*/ 3231258 w 6100546"/>
              <a:gd name="connsiteY1007" fmla="*/ 366341 h 5950684"/>
              <a:gd name="connsiteX1008" fmla="*/ 3513271 w 6100546"/>
              <a:gd name="connsiteY1008" fmla="*/ 427372 h 5950684"/>
              <a:gd name="connsiteX1009" fmla="*/ 3608222 w 6100546"/>
              <a:gd name="connsiteY1009" fmla="*/ 454238 h 5950684"/>
              <a:gd name="connsiteX1010" fmla="*/ 3622351 w 6100546"/>
              <a:gd name="connsiteY1010" fmla="*/ 456286 h 5950684"/>
              <a:gd name="connsiteX1011" fmla="*/ 4425474 w 6100546"/>
              <a:gd name="connsiteY1011" fmla="*/ 742990 h 5950684"/>
              <a:gd name="connsiteX1012" fmla="*/ 4411657 w 6100546"/>
              <a:gd name="connsiteY1012" fmla="*/ 742990 h 5950684"/>
              <a:gd name="connsiteX1013" fmla="*/ 4485349 w 6100546"/>
              <a:gd name="connsiteY1013" fmla="*/ 779836 h 5950684"/>
              <a:gd name="connsiteX1014" fmla="*/ 4572858 w 6100546"/>
              <a:gd name="connsiteY1014" fmla="*/ 830498 h 5950684"/>
              <a:gd name="connsiteX1015" fmla="*/ 4623520 w 6100546"/>
              <a:gd name="connsiteY1015" fmla="*/ 862738 h 5950684"/>
              <a:gd name="connsiteX1016" fmla="*/ 4623520 w 6100546"/>
              <a:gd name="connsiteY1016" fmla="*/ 867344 h 5950684"/>
              <a:gd name="connsiteX1017" fmla="*/ 4628126 w 6100546"/>
              <a:gd name="connsiteY1017" fmla="*/ 867343 h 5950684"/>
              <a:gd name="connsiteX1018" fmla="*/ 4632732 w 6100546"/>
              <a:gd name="connsiteY1018" fmla="*/ 871949 h 5950684"/>
              <a:gd name="connsiteX1019" fmla="*/ 4641943 w 6100546"/>
              <a:gd name="connsiteY1019" fmla="*/ 876556 h 5950684"/>
              <a:gd name="connsiteX1020" fmla="*/ 4664972 w 6100546"/>
              <a:gd name="connsiteY1020" fmla="*/ 890372 h 5950684"/>
              <a:gd name="connsiteX1021" fmla="*/ 4738664 w 6100546"/>
              <a:gd name="connsiteY1021" fmla="*/ 941035 h 5950684"/>
              <a:gd name="connsiteX1022" fmla="*/ 4766299 w 6100546"/>
              <a:gd name="connsiteY1022" fmla="*/ 964063 h 5950684"/>
              <a:gd name="connsiteX1023" fmla="*/ 4830778 w 6100546"/>
              <a:gd name="connsiteY1023" fmla="*/ 1014726 h 5950684"/>
              <a:gd name="connsiteX1024" fmla="*/ 4826172 w 6100546"/>
              <a:gd name="connsiteY1024" fmla="*/ 1014726 h 5950684"/>
              <a:gd name="connsiteX1025" fmla="*/ 4839989 w 6100546"/>
              <a:gd name="connsiteY1025" fmla="*/ 1023937 h 5950684"/>
              <a:gd name="connsiteX1026" fmla="*/ 5512425 w 6100546"/>
              <a:gd name="connsiteY1026" fmla="*/ 1834539 h 5950684"/>
              <a:gd name="connsiteX1027" fmla="*/ 5811797 w 6100546"/>
              <a:gd name="connsiteY1027" fmla="*/ 3022808 h 5950684"/>
              <a:gd name="connsiteX1028" fmla="*/ 5802585 w 6100546"/>
              <a:gd name="connsiteY1028" fmla="*/ 3022808 h 5950684"/>
              <a:gd name="connsiteX1029" fmla="*/ 5751923 w 6100546"/>
              <a:gd name="connsiteY1029" fmla="*/ 2889243 h 5950684"/>
              <a:gd name="connsiteX1030" fmla="*/ 5747317 w 6100546"/>
              <a:gd name="connsiteY1030" fmla="*/ 2907666 h 5950684"/>
              <a:gd name="connsiteX1031" fmla="*/ 5738105 w 6100546"/>
              <a:gd name="connsiteY1031" fmla="*/ 2824763 h 5950684"/>
              <a:gd name="connsiteX1032" fmla="*/ 5715076 w 6100546"/>
              <a:gd name="connsiteY1032" fmla="*/ 2764889 h 5950684"/>
              <a:gd name="connsiteX1033" fmla="*/ 5705865 w 6100546"/>
              <a:gd name="connsiteY1033" fmla="*/ 2810946 h 5950684"/>
              <a:gd name="connsiteX1034" fmla="*/ 5701259 w 6100546"/>
              <a:gd name="connsiteY1034" fmla="*/ 2806340 h 5950684"/>
              <a:gd name="connsiteX1035" fmla="*/ 5701259 w 6100546"/>
              <a:gd name="connsiteY1035" fmla="*/ 2801735 h 5950684"/>
              <a:gd name="connsiteX1036" fmla="*/ 5701259 w 6100546"/>
              <a:gd name="connsiteY1036" fmla="*/ 2797128 h 5950684"/>
              <a:gd name="connsiteX1037" fmla="*/ 5701259 w 6100546"/>
              <a:gd name="connsiteY1037" fmla="*/ 2787918 h 5950684"/>
              <a:gd name="connsiteX1038" fmla="*/ 5696654 w 6100546"/>
              <a:gd name="connsiteY1038" fmla="*/ 2792523 h 5950684"/>
              <a:gd name="connsiteX1039" fmla="*/ 5696654 w 6100546"/>
              <a:gd name="connsiteY1039" fmla="*/ 2797130 h 5950684"/>
              <a:gd name="connsiteX1040" fmla="*/ 5696654 w 6100546"/>
              <a:gd name="connsiteY1040" fmla="*/ 2801735 h 5950684"/>
              <a:gd name="connsiteX1041" fmla="*/ 5692048 w 6100546"/>
              <a:gd name="connsiteY1041" fmla="*/ 2815552 h 5950684"/>
              <a:gd name="connsiteX1042" fmla="*/ 5696654 w 6100546"/>
              <a:gd name="connsiteY1042" fmla="*/ 2820156 h 5950684"/>
              <a:gd name="connsiteX1043" fmla="*/ 5696654 w 6100546"/>
              <a:gd name="connsiteY1043" fmla="*/ 2815552 h 5950684"/>
              <a:gd name="connsiteX1044" fmla="*/ 5701259 w 6100546"/>
              <a:gd name="connsiteY1044" fmla="*/ 2810946 h 5950684"/>
              <a:gd name="connsiteX1045" fmla="*/ 5701259 w 6100546"/>
              <a:gd name="connsiteY1045" fmla="*/ 2824762 h 5950684"/>
              <a:gd name="connsiteX1046" fmla="*/ 5701259 w 6100546"/>
              <a:gd name="connsiteY1046" fmla="*/ 2829369 h 5950684"/>
              <a:gd name="connsiteX1047" fmla="*/ 5678230 w 6100546"/>
              <a:gd name="connsiteY1047" fmla="*/ 2866214 h 5950684"/>
              <a:gd name="connsiteX1048" fmla="*/ 5673625 w 6100546"/>
              <a:gd name="connsiteY1048" fmla="*/ 2810946 h 5950684"/>
              <a:gd name="connsiteX1049" fmla="*/ 5655203 w 6100546"/>
              <a:gd name="connsiteY1049" fmla="*/ 2829368 h 5950684"/>
              <a:gd name="connsiteX1050" fmla="*/ 5609145 w 6100546"/>
              <a:gd name="connsiteY1050" fmla="*/ 2718832 h 5950684"/>
              <a:gd name="connsiteX1051" fmla="*/ 5609145 w 6100546"/>
              <a:gd name="connsiteY1051" fmla="*/ 2714225 h 5950684"/>
              <a:gd name="connsiteX1052" fmla="*/ 5609145 w 6100546"/>
              <a:gd name="connsiteY1052" fmla="*/ 2705015 h 5950684"/>
              <a:gd name="connsiteX1053" fmla="*/ 5604540 w 6100546"/>
              <a:gd name="connsiteY1053" fmla="*/ 2700408 h 5950684"/>
              <a:gd name="connsiteX1054" fmla="*/ 5590722 w 6100546"/>
              <a:gd name="connsiteY1054" fmla="*/ 2649747 h 5950684"/>
              <a:gd name="connsiteX1055" fmla="*/ 5586117 w 6100546"/>
              <a:gd name="connsiteY1055" fmla="*/ 2631324 h 5950684"/>
              <a:gd name="connsiteX1056" fmla="*/ 5581511 w 6100546"/>
              <a:gd name="connsiteY1056" fmla="*/ 2626718 h 5950684"/>
              <a:gd name="connsiteX1057" fmla="*/ 5581511 w 6100546"/>
              <a:gd name="connsiteY1057" fmla="*/ 2622113 h 5950684"/>
              <a:gd name="connsiteX1058" fmla="*/ 5576905 w 6100546"/>
              <a:gd name="connsiteY1058" fmla="*/ 2622113 h 5950684"/>
              <a:gd name="connsiteX1059" fmla="*/ 5576905 w 6100546"/>
              <a:gd name="connsiteY1059" fmla="*/ 2617507 h 5950684"/>
              <a:gd name="connsiteX1060" fmla="*/ 5567693 w 6100546"/>
              <a:gd name="connsiteY1060" fmla="*/ 2599084 h 5950684"/>
              <a:gd name="connsiteX1061" fmla="*/ 5563088 w 6100546"/>
              <a:gd name="connsiteY1061" fmla="*/ 2612901 h 5950684"/>
              <a:gd name="connsiteX1062" fmla="*/ 5553877 w 6100546"/>
              <a:gd name="connsiteY1062" fmla="*/ 2603690 h 5950684"/>
              <a:gd name="connsiteX1063" fmla="*/ 5549271 w 6100546"/>
              <a:gd name="connsiteY1063" fmla="*/ 2562239 h 5950684"/>
              <a:gd name="connsiteX1064" fmla="*/ 5512425 w 6100546"/>
              <a:gd name="connsiteY1064" fmla="*/ 2451702 h 5950684"/>
              <a:gd name="connsiteX1065" fmla="*/ 5503214 w 6100546"/>
              <a:gd name="connsiteY1065" fmla="*/ 2424067 h 5950684"/>
              <a:gd name="connsiteX1066" fmla="*/ 5470974 w 6100546"/>
              <a:gd name="connsiteY1066" fmla="*/ 2331954 h 5950684"/>
              <a:gd name="connsiteX1067" fmla="*/ 5470974 w 6100546"/>
              <a:gd name="connsiteY1067" fmla="*/ 2318137 h 5950684"/>
              <a:gd name="connsiteX1068" fmla="*/ 5461762 w 6100546"/>
              <a:gd name="connsiteY1068" fmla="*/ 2308926 h 5950684"/>
              <a:gd name="connsiteX1069" fmla="*/ 5466369 w 6100546"/>
              <a:gd name="connsiteY1069" fmla="*/ 2304320 h 5950684"/>
              <a:gd name="connsiteX1070" fmla="*/ 5438735 w 6100546"/>
              <a:gd name="connsiteY1070" fmla="*/ 2239840 h 5950684"/>
              <a:gd name="connsiteX1071" fmla="*/ 5447945 w 6100546"/>
              <a:gd name="connsiteY1071" fmla="*/ 2239840 h 5950684"/>
              <a:gd name="connsiteX1072" fmla="*/ 5434128 w 6100546"/>
              <a:gd name="connsiteY1072" fmla="*/ 2226023 h 5950684"/>
              <a:gd name="connsiteX1073" fmla="*/ 5420311 w 6100546"/>
              <a:gd name="connsiteY1073" fmla="*/ 2193782 h 5950684"/>
              <a:gd name="connsiteX1074" fmla="*/ 5420311 w 6100546"/>
              <a:gd name="connsiteY1074" fmla="*/ 2189178 h 5950684"/>
              <a:gd name="connsiteX1075" fmla="*/ 5424916 w 6100546"/>
              <a:gd name="connsiteY1075" fmla="*/ 2189178 h 5950684"/>
              <a:gd name="connsiteX1076" fmla="*/ 5429522 w 6100546"/>
              <a:gd name="connsiteY1076" fmla="*/ 2189177 h 5950684"/>
              <a:gd name="connsiteX1077" fmla="*/ 5429522 w 6100546"/>
              <a:gd name="connsiteY1077" fmla="*/ 2184572 h 5950684"/>
              <a:gd name="connsiteX1078" fmla="*/ 5424916 w 6100546"/>
              <a:gd name="connsiteY1078" fmla="*/ 2161543 h 5950684"/>
              <a:gd name="connsiteX1079" fmla="*/ 5429522 w 6100546"/>
              <a:gd name="connsiteY1079" fmla="*/ 2161542 h 5950684"/>
              <a:gd name="connsiteX1080" fmla="*/ 5429522 w 6100546"/>
              <a:gd name="connsiteY1080" fmla="*/ 2156938 h 5950684"/>
              <a:gd name="connsiteX1081" fmla="*/ 5424917 w 6100546"/>
              <a:gd name="connsiteY1081" fmla="*/ 2152332 h 5950684"/>
              <a:gd name="connsiteX1082" fmla="*/ 5388072 w 6100546"/>
              <a:gd name="connsiteY1082" fmla="*/ 2064823 h 5950684"/>
              <a:gd name="connsiteX1083" fmla="*/ 5337408 w 6100546"/>
              <a:gd name="connsiteY1083" fmla="*/ 1977316 h 5950684"/>
              <a:gd name="connsiteX1084" fmla="*/ 5321863 w 6100546"/>
              <a:gd name="connsiteY1084" fmla="*/ 1943349 h 5950684"/>
              <a:gd name="connsiteX1085" fmla="*/ 5314233 w 6100546"/>
              <a:gd name="connsiteY1085" fmla="*/ 1930292 h 5950684"/>
              <a:gd name="connsiteX1086" fmla="*/ 5342560 w 6100546"/>
              <a:gd name="connsiteY1086" fmla="*/ 1992734 h 5950684"/>
              <a:gd name="connsiteX1087" fmla="*/ 5509333 w 6100546"/>
              <a:gd name="connsiteY1087" fmla="*/ 2577629 h 5950684"/>
              <a:gd name="connsiteX1088" fmla="*/ 5541762 w 6100546"/>
              <a:gd name="connsiteY1088" fmla="*/ 2807552 h 5950684"/>
              <a:gd name="connsiteX1089" fmla="*/ 5536472 w 6100546"/>
              <a:gd name="connsiteY1089" fmla="*/ 2828499 h 5950684"/>
              <a:gd name="connsiteX1090" fmla="*/ 5526971 w 6100546"/>
              <a:gd name="connsiteY1090" fmla="*/ 2819850 h 5950684"/>
              <a:gd name="connsiteX1091" fmla="*/ 5346305 w 6100546"/>
              <a:gd name="connsiteY1091" fmla="*/ 2097618 h 5950684"/>
              <a:gd name="connsiteX1092" fmla="*/ 5178627 w 6100546"/>
              <a:gd name="connsiteY1092" fmla="*/ 1745780 h 5950684"/>
              <a:gd name="connsiteX1093" fmla="*/ 5157512 w 6100546"/>
              <a:gd name="connsiteY1093" fmla="*/ 1703493 h 5950684"/>
              <a:gd name="connsiteX1094" fmla="*/ 5139908 w 6100546"/>
              <a:gd name="connsiteY1094" fmla="*/ 1689267 h 5950684"/>
              <a:gd name="connsiteX1095" fmla="*/ 5136717 w 6100546"/>
              <a:gd name="connsiteY1095" fmla="*/ 1714819 h 5950684"/>
              <a:gd name="connsiteX1096" fmla="*/ 5225222 w 6100546"/>
              <a:gd name="connsiteY1096" fmla="*/ 1876563 h 5950684"/>
              <a:gd name="connsiteX1097" fmla="*/ 5301667 w 6100546"/>
              <a:gd name="connsiteY1097" fmla="*/ 2049214 h 5950684"/>
              <a:gd name="connsiteX1098" fmla="*/ 5350111 w 6100546"/>
              <a:gd name="connsiteY1098" fmla="*/ 2181079 h 5950684"/>
              <a:gd name="connsiteX1099" fmla="*/ 5351225 w 6100546"/>
              <a:gd name="connsiteY1099" fmla="*/ 2179965 h 5950684"/>
              <a:gd name="connsiteX1100" fmla="*/ 5374253 w 6100546"/>
              <a:gd name="connsiteY1100" fmla="*/ 2235233 h 5950684"/>
              <a:gd name="connsiteX1101" fmla="*/ 5369648 w 6100546"/>
              <a:gd name="connsiteY1101" fmla="*/ 2235233 h 5950684"/>
              <a:gd name="connsiteX1102" fmla="*/ 5365043 w 6100546"/>
              <a:gd name="connsiteY1102" fmla="*/ 2216812 h 5950684"/>
              <a:gd name="connsiteX1103" fmla="*/ 5358240 w 6100546"/>
              <a:gd name="connsiteY1103" fmla="*/ 2203206 h 5950684"/>
              <a:gd name="connsiteX1104" fmla="*/ 5365805 w 6100546"/>
              <a:gd name="connsiteY1104" fmla="*/ 2223799 h 5950684"/>
              <a:gd name="connsiteX1105" fmla="*/ 5377582 w 6100546"/>
              <a:gd name="connsiteY1105" fmla="*/ 2264421 h 5950684"/>
              <a:gd name="connsiteX1106" fmla="*/ 5382889 w 6100546"/>
              <a:gd name="connsiteY1106" fmla="*/ 2266898 h 5950684"/>
              <a:gd name="connsiteX1107" fmla="*/ 5388071 w 6100546"/>
              <a:gd name="connsiteY1107" fmla="*/ 2267474 h 5950684"/>
              <a:gd name="connsiteX1108" fmla="*/ 5388071 w 6100546"/>
              <a:gd name="connsiteY1108" fmla="*/ 2276686 h 5950684"/>
              <a:gd name="connsiteX1109" fmla="*/ 5383466 w 6100546"/>
              <a:gd name="connsiteY1109" fmla="*/ 2276686 h 5950684"/>
              <a:gd name="connsiteX1110" fmla="*/ 5383466 w 6100546"/>
              <a:gd name="connsiteY1110" fmla="*/ 2281290 h 5950684"/>
              <a:gd name="connsiteX1111" fmla="*/ 5383465 w 6100546"/>
              <a:gd name="connsiteY1111" fmla="*/ 2284717 h 5950684"/>
              <a:gd name="connsiteX1112" fmla="*/ 5417006 w 6100546"/>
              <a:gd name="connsiteY1112" fmla="*/ 2400410 h 5950684"/>
              <a:gd name="connsiteX1113" fmla="*/ 5423669 w 6100546"/>
              <a:gd name="connsiteY1113" fmla="*/ 2432055 h 5950684"/>
              <a:gd name="connsiteX1114" fmla="*/ 5434128 w 6100546"/>
              <a:gd name="connsiteY1114" fmla="*/ 2447096 h 5950684"/>
              <a:gd name="connsiteX1115" fmla="*/ 5443339 w 6100546"/>
              <a:gd name="connsiteY1115" fmla="*/ 2470124 h 5950684"/>
              <a:gd name="connsiteX1116" fmla="*/ 5447945 w 6100546"/>
              <a:gd name="connsiteY1116" fmla="*/ 2497759 h 5950684"/>
              <a:gd name="connsiteX1117" fmla="*/ 5457156 w 6100546"/>
              <a:gd name="connsiteY1117" fmla="*/ 2529998 h 5950684"/>
              <a:gd name="connsiteX1118" fmla="*/ 5466368 w 6100546"/>
              <a:gd name="connsiteY1118" fmla="*/ 2576056 h 5950684"/>
              <a:gd name="connsiteX1119" fmla="*/ 5475579 w 6100546"/>
              <a:gd name="connsiteY1119" fmla="*/ 2603690 h 5950684"/>
              <a:gd name="connsiteX1120" fmla="*/ 5475579 w 6100546"/>
              <a:gd name="connsiteY1120" fmla="*/ 2608296 h 5950684"/>
              <a:gd name="connsiteX1121" fmla="*/ 5484791 w 6100546"/>
              <a:gd name="connsiteY1121" fmla="*/ 2645140 h 5950684"/>
              <a:gd name="connsiteX1122" fmla="*/ 5494002 w 6100546"/>
              <a:gd name="connsiteY1122" fmla="*/ 2677380 h 5950684"/>
              <a:gd name="connsiteX1123" fmla="*/ 5498607 w 6100546"/>
              <a:gd name="connsiteY1123" fmla="*/ 2691198 h 5950684"/>
              <a:gd name="connsiteX1124" fmla="*/ 5498608 w 6100546"/>
              <a:gd name="connsiteY1124" fmla="*/ 2695804 h 5950684"/>
              <a:gd name="connsiteX1125" fmla="*/ 5494002 w 6100546"/>
              <a:gd name="connsiteY1125" fmla="*/ 2709621 h 5950684"/>
              <a:gd name="connsiteX1126" fmla="*/ 5494002 w 6100546"/>
              <a:gd name="connsiteY1126" fmla="*/ 2714225 h 5950684"/>
              <a:gd name="connsiteX1127" fmla="*/ 5498608 w 6100546"/>
              <a:gd name="connsiteY1127" fmla="*/ 2723437 h 5950684"/>
              <a:gd name="connsiteX1128" fmla="*/ 5503214 w 6100546"/>
              <a:gd name="connsiteY1128" fmla="*/ 2723438 h 5950684"/>
              <a:gd name="connsiteX1129" fmla="*/ 5503214 w 6100546"/>
              <a:gd name="connsiteY1129" fmla="*/ 2746466 h 5950684"/>
              <a:gd name="connsiteX1130" fmla="*/ 5507819 w 6100546"/>
              <a:gd name="connsiteY1130" fmla="*/ 2751072 h 5950684"/>
              <a:gd name="connsiteX1131" fmla="*/ 5507819 w 6100546"/>
              <a:gd name="connsiteY1131" fmla="*/ 2746466 h 5950684"/>
              <a:gd name="connsiteX1132" fmla="*/ 5503214 w 6100546"/>
              <a:gd name="connsiteY1132" fmla="*/ 2723438 h 5950684"/>
              <a:gd name="connsiteX1133" fmla="*/ 5507819 w 6100546"/>
              <a:gd name="connsiteY1133" fmla="*/ 2723438 h 5950684"/>
              <a:gd name="connsiteX1134" fmla="*/ 5507819 w 6100546"/>
              <a:gd name="connsiteY1134" fmla="*/ 2732649 h 5950684"/>
              <a:gd name="connsiteX1135" fmla="*/ 5507819 w 6100546"/>
              <a:gd name="connsiteY1135" fmla="*/ 2737255 h 5950684"/>
              <a:gd name="connsiteX1136" fmla="*/ 5512425 w 6100546"/>
              <a:gd name="connsiteY1136" fmla="*/ 2751072 h 5950684"/>
              <a:gd name="connsiteX1137" fmla="*/ 5512425 w 6100546"/>
              <a:gd name="connsiteY1137" fmla="*/ 2769494 h 5950684"/>
              <a:gd name="connsiteX1138" fmla="*/ 5507818 w 6100546"/>
              <a:gd name="connsiteY1138" fmla="*/ 2764888 h 5950684"/>
              <a:gd name="connsiteX1139" fmla="*/ 5507819 w 6100546"/>
              <a:gd name="connsiteY1139" fmla="*/ 2774100 h 5950684"/>
              <a:gd name="connsiteX1140" fmla="*/ 5507819 w 6100546"/>
              <a:gd name="connsiteY1140" fmla="*/ 2783312 h 5950684"/>
              <a:gd name="connsiteX1141" fmla="*/ 5512425 w 6100546"/>
              <a:gd name="connsiteY1141" fmla="*/ 2797130 h 5950684"/>
              <a:gd name="connsiteX1142" fmla="*/ 5512425 w 6100546"/>
              <a:gd name="connsiteY1142" fmla="*/ 2806339 h 5950684"/>
              <a:gd name="connsiteX1143" fmla="*/ 5517031 w 6100546"/>
              <a:gd name="connsiteY1143" fmla="*/ 2810946 h 5950684"/>
              <a:gd name="connsiteX1144" fmla="*/ 5521637 w 6100546"/>
              <a:gd name="connsiteY1144" fmla="*/ 2824763 h 5950684"/>
              <a:gd name="connsiteX1145" fmla="*/ 5521637 w 6100546"/>
              <a:gd name="connsiteY1145" fmla="*/ 2833975 h 5950684"/>
              <a:gd name="connsiteX1146" fmla="*/ 5517031 w 6100546"/>
              <a:gd name="connsiteY1146" fmla="*/ 2838580 h 5950684"/>
              <a:gd name="connsiteX1147" fmla="*/ 5521637 w 6100546"/>
              <a:gd name="connsiteY1147" fmla="*/ 2843185 h 5950684"/>
              <a:gd name="connsiteX1148" fmla="*/ 5517031 w 6100546"/>
              <a:gd name="connsiteY1148" fmla="*/ 2852397 h 5950684"/>
              <a:gd name="connsiteX1149" fmla="*/ 5521637 w 6100546"/>
              <a:gd name="connsiteY1149" fmla="*/ 2861609 h 5950684"/>
              <a:gd name="connsiteX1150" fmla="*/ 5526242 w 6100546"/>
              <a:gd name="connsiteY1150" fmla="*/ 2857003 h 5950684"/>
              <a:gd name="connsiteX1151" fmla="*/ 5526242 w 6100546"/>
              <a:gd name="connsiteY1151" fmla="*/ 2870820 h 5950684"/>
              <a:gd name="connsiteX1152" fmla="*/ 5526241 w 6100546"/>
              <a:gd name="connsiteY1152" fmla="*/ 2875426 h 5950684"/>
              <a:gd name="connsiteX1153" fmla="*/ 5530848 w 6100546"/>
              <a:gd name="connsiteY1153" fmla="*/ 2893848 h 5950684"/>
              <a:gd name="connsiteX1154" fmla="*/ 5530848 w 6100546"/>
              <a:gd name="connsiteY1154" fmla="*/ 2912271 h 5950684"/>
              <a:gd name="connsiteX1155" fmla="*/ 5530848 w 6100546"/>
              <a:gd name="connsiteY1155" fmla="*/ 2926088 h 5950684"/>
              <a:gd name="connsiteX1156" fmla="*/ 5530848 w 6100546"/>
              <a:gd name="connsiteY1156" fmla="*/ 2953722 h 5950684"/>
              <a:gd name="connsiteX1157" fmla="*/ 5526242 w 6100546"/>
              <a:gd name="connsiteY1157" fmla="*/ 2967540 h 5950684"/>
              <a:gd name="connsiteX1158" fmla="*/ 5521637 w 6100546"/>
              <a:gd name="connsiteY1158" fmla="*/ 2962934 h 5950684"/>
              <a:gd name="connsiteX1159" fmla="*/ 5517030 w 6100546"/>
              <a:gd name="connsiteY1159" fmla="*/ 2958328 h 5950684"/>
              <a:gd name="connsiteX1160" fmla="*/ 5517031 w 6100546"/>
              <a:gd name="connsiteY1160" fmla="*/ 2962934 h 5950684"/>
              <a:gd name="connsiteX1161" fmla="*/ 5517031 w 6100546"/>
              <a:gd name="connsiteY1161" fmla="*/ 2967539 h 5950684"/>
              <a:gd name="connsiteX1162" fmla="*/ 5521637 w 6100546"/>
              <a:gd name="connsiteY1162" fmla="*/ 2972145 h 5950684"/>
              <a:gd name="connsiteX1163" fmla="*/ 5526242 w 6100546"/>
              <a:gd name="connsiteY1163" fmla="*/ 2976750 h 5950684"/>
              <a:gd name="connsiteX1164" fmla="*/ 5530848 w 6100546"/>
              <a:gd name="connsiteY1164" fmla="*/ 2976751 h 5950684"/>
              <a:gd name="connsiteX1165" fmla="*/ 5535454 w 6100546"/>
              <a:gd name="connsiteY1165" fmla="*/ 2953722 h 5950684"/>
              <a:gd name="connsiteX1166" fmla="*/ 5535453 w 6100546"/>
              <a:gd name="connsiteY1166" fmla="*/ 2949117 h 5950684"/>
              <a:gd name="connsiteX1167" fmla="*/ 5535454 w 6100546"/>
              <a:gd name="connsiteY1167" fmla="*/ 2930694 h 5950684"/>
              <a:gd name="connsiteX1168" fmla="*/ 5535454 w 6100546"/>
              <a:gd name="connsiteY1168" fmla="*/ 2921483 h 5950684"/>
              <a:gd name="connsiteX1169" fmla="*/ 5540059 w 6100546"/>
              <a:gd name="connsiteY1169" fmla="*/ 2944510 h 5950684"/>
              <a:gd name="connsiteX1170" fmla="*/ 5544665 w 6100546"/>
              <a:gd name="connsiteY1170" fmla="*/ 2972145 h 5950684"/>
              <a:gd name="connsiteX1171" fmla="*/ 5540059 w 6100546"/>
              <a:gd name="connsiteY1171" fmla="*/ 2981357 h 5950684"/>
              <a:gd name="connsiteX1172" fmla="*/ 5540059 w 6100546"/>
              <a:gd name="connsiteY1172" fmla="*/ 2990568 h 5950684"/>
              <a:gd name="connsiteX1173" fmla="*/ 5540058 w 6100546"/>
              <a:gd name="connsiteY1173" fmla="*/ 3013596 h 5950684"/>
              <a:gd name="connsiteX1174" fmla="*/ 5535454 w 6100546"/>
              <a:gd name="connsiteY1174" fmla="*/ 3008990 h 5950684"/>
              <a:gd name="connsiteX1175" fmla="*/ 5530848 w 6100546"/>
              <a:gd name="connsiteY1175" fmla="*/ 3008991 h 5950684"/>
              <a:gd name="connsiteX1176" fmla="*/ 5530848 w 6100546"/>
              <a:gd name="connsiteY1176" fmla="*/ 3013596 h 5950684"/>
              <a:gd name="connsiteX1177" fmla="*/ 5530848 w 6100546"/>
              <a:gd name="connsiteY1177" fmla="*/ 3018201 h 5950684"/>
              <a:gd name="connsiteX1178" fmla="*/ 5535454 w 6100546"/>
              <a:gd name="connsiteY1178" fmla="*/ 3022807 h 5950684"/>
              <a:gd name="connsiteX1179" fmla="*/ 5535454 w 6100546"/>
              <a:gd name="connsiteY1179" fmla="*/ 3027414 h 5950684"/>
              <a:gd name="connsiteX1180" fmla="*/ 5535454 w 6100546"/>
              <a:gd name="connsiteY1180" fmla="*/ 3032019 h 5950684"/>
              <a:gd name="connsiteX1181" fmla="*/ 5540059 w 6100546"/>
              <a:gd name="connsiteY1181" fmla="*/ 3050441 h 5950684"/>
              <a:gd name="connsiteX1182" fmla="*/ 5540059 w 6100546"/>
              <a:gd name="connsiteY1182" fmla="*/ 3073471 h 5950684"/>
              <a:gd name="connsiteX1183" fmla="*/ 5535454 w 6100546"/>
              <a:gd name="connsiteY1183" fmla="*/ 3078076 h 5950684"/>
              <a:gd name="connsiteX1184" fmla="*/ 5530847 w 6100546"/>
              <a:gd name="connsiteY1184" fmla="*/ 3073471 h 5950684"/>
              <a:gd name="connsiteX1185" fmla="*/ 5526242 w 6100546"/>
              <a:gd name="connsiteY1185" fmla="*/ 3018202 h 5950684"/>
              <a:gd name="connsiteX1186" fmla="*/ 5526242 w 6100546"/>
              <a:gd name="connsiteY1186" fmla="*/ 3013595 h 5950684"/>
              <a:gd name="connsiteX1187" fmla="*/ 5521637 w 6100546"/>
              <a:gd name="connsiteY1187" fmla="*/ 3018202 h 5950684"/>
              <a:gd name="connsiteX1188" fmla="*/ 5526242 w 6100546"/>
              <a:gd name="connsiteY1188" fmla="*/ 3073471 h 5950684"/>
              <a:gd name="connsiteX1189" fmla="*/ 5512425 w 6100546"/>
              <a:gd name="connsiteY1189" fmla="*/ 3082681 h 5950684"/>
              <a:gd name="connsiteX1190" fmla="*/ 5503214 w 6100546"/>
              <a:gd name="connsiteY1190" fmla="*/ 3133345 h 5950684"/>
              <a:gd name="connsiteX1191" fmla="*/ 5466368 w 6100546"/>
              <a:gd name="connsiteY1191" fmla="*/ 3317571 h 5950684"/>
              <a:gd name="connsiteX1192" fmla="*/ 5466368 w 6100546"/>
              <a:gd name="connsiteY1192" fmla="*/ 3322178 h 5950684"/>
              <a:gd name="connsiteX1193" fmla="*/ 5466368 w 6100546"/>
              <a:gd name="connsiteY1193" fmla="*/ 3326784 h 5950684"/>
              <a:gd name="connsiteX1194" fmla="*/ 5470974 w 6100546"/>
              <a:gd name="connsiteY1194" fmla="*/ 3322177 h 5950684"/>
              <a:gd name="connsiteX1195" fmla="*/ 5507819 w 6100546"/>
              <a:gd name="connsiteY1195" fmla="*/ 3142555 h 5950684"/>
              <a:gd name="connsiteX1196" fmla="*/ 5507819 w 6100546"/>
              <a:gd name="connsiteY1196" fmla="*/ 3147162 h 5950684"/>
              <a:gd name="connsiteX1197" fmla="*/ 5517031 w 6100546"/>
              <a:gd name="connsiteY1197" fmla="*/ 3137949 h 5950684"/>
              <a:gd name="connsiteX1198" fmla="*/ 5517031 w 6100546"/>
              <a:gd name="connsiteY1198" fmla="*/ 3151766 h 5950684"/>
              <a:gd name="connsiteX1199" fmla="*/ 5512425 w 6100546"/>
              <a:gd name="connsiteY1199" fmla="*/ 3151767 h 5950684"/>
              <a:gd name="connsiteX1200" fmla="*/ 5512425 w 6100546"/>
              <a:gd name="connsiteY1200" fmla="*/ 3156373 h 5950684"/>
              <a:gd name="connsiteX1201" fmla="*/ 5512425 w 6100546"/>
              <a:gd name="connsiteY1201" fmla="*/ 3160978 h 5950684"/>
              <a:gd name="connsiteX1202" fmla="*/ 5517031 w 6100546"/>
              <a:gd name="connsiteY1202" fmla="*/ 3160978 h 5950684"/>
              <a:gd name="connsiteX1203" fmla="*/ 5512425 w 6100546"/>
              <a:gd name="connsiteY1203" fmla="*/ 3184006 h 5950684"/>
              <a:gd name="connsiteX1204" fmla="*/ 5512425 w 6100546"/>
              <a:gd name="connsiteY1204" fmla="*/ 3193219 h 5950684"/>
              <a:gd name="connsiteX1205" fmla="*/ 5512425 w 6100546"/>
              <a:gd name="connsiteY1205" fmla="*/ 3207036 h 5950684"/>
              <a:gd name="connsiteX1206" fmla="*/ 5512425 w 6100546"/>
              <a:gd name="connsiteY1206" fmla="*/ 3211640 h 5950684"/>
              <a:gd name="connsiteX1207" fmla="*/ 5507819 w 6100546"/>
              <a:gd name="connsiteY1207" fmla="*/ 3216247 h 5950684"/>
              <a:gd name="connsiteX1208" fmla="*/ 5507819 w 6100546"/>
              <a:gd name="connsiteY1208" fmla="*/ 3225458 h 5950684"/>
              <a:gd name="connsiteX1209" fmla="*/ 5512425 w 6100546"/>
              <a:gd name="connsiteY1209" fmla="*/ 3230064 h 5950684"/>
              <a:gd name="connsiteX1210" fmla="*/ 5512425 w 6100546"/>
              <a:gd name="connsiteY1210" fmla="*/ 3340600 h 5950684"/>
              <a:gd name="connsiteX1211" fmla="*/ 5503214 w 6100546"/>
              <a:gd name="connsiteY1211" fmla="*/ 3391263 h 5950684"/>
              <a:gd name="connsiteX1212" fmla="*/ 5507819 w 6100546"/>
              <a:gd name="connsiteY1212" fmla="*/ 3386658 h 5950684"/>
              <a:gd name="connsiteX1213" fmla="*/ 5498608 w 6100546"/>
              <a:gd name="connsiteY1213" fmla="*/ 3478771 h 5950684"/>
              <a:gd name="connsiteX1214" fmla="*/ 5503214 w 6100546"/>
              <a:gd name="connsiteY1214" fmla="*/ 3483377 h 5950684"/>
              <a:gd name="connsiteX1215" fmla="*/ 5498608 w 6100546"/>
              <a:gd name="connsiteY1215" fmla="*/ 3506406 h 5950684"/>
              <a:gd name="connsiteX1216" fmla="*/ 5494002 w 6100546"/>
              <a:gd name="connsiteY1216" fmla="*/ 3511011 h 5950684"/>
              <a:gd name="connsiteX1217" fmla="*/ 5498608 w 6100546"/>
              <a:gd name="connsiteY1217" fmla="*/ 3520223 h 5950684"/>
              <a:gd name="connsiteX1218" fmla="*/ 5494002 w 6100546"/>
              <a:gd name="connsiteY1218" fmla="*/ 3547856 h 5950684"/>
              <a:gd name="connsiteX1219" fmla="*/ 5494001 w 6100546"/>
              <a:gd name="connsiteY1219" fmla="*/ 3552463 h 5950684"/>
              <a:gd name="connsiteX1220" fmla="*/ 5489397 w 6100546"/>
              <a:gd name="connsiteY1220" fmla="*/ 3566280 h 5950684"/>
              <a:gd name="connsiteX1221" fmla="*/ 5489397 w 6100546"/>
              <a:gd name="connsiteY1221" fmla="*/ 3570884 h 5950684"/>
              <a:gd name="connsiteX1222" fmla="*/ 5489397 w 6100546"/>
              <a:gd name="connsiteY1222" fmla="*/ 3575491 h 5950684"/>
              <a:gd name="connsiteX1223" fmla="*/ 5470974 w 6100546"/>
              <a:gd name="connsiteY1223" fmla="*/ 3653788 h 5950684"/>
              <a:gd name="connsiteX1224" fmla="*/ 5470974 w 6100546"/>
              <a:gd name="connsiteY1224" fmla="*/ 3667605 h 5950684"/>
              <a:gd name="connsiteX1225" fmla="*/ 5470975 w 6100546"/>
              <a:gd name="connsiteY1225" fmla="*/ 3672211 h 5950684"/>
              <a:gd name="connsiteX1226" fmla="*/ 5470975 w 6100546"/>
              <a:gd name="connsiteY1226" fmla="*/ 3690633 h 5950684"/>
              <a:gd name="connsiteX1227" fmla="*/ 5452551 w 6100546"/>
              <a:gd name="connsiteY1227" fmla="*/ 3741296 h 5950684"/>
              <a:gd name="connsiteX1228" fmla="*/ 5392676 w 6100546"/>
              <a:gd name="connsiteY1228" fmla="*/ 3934735 h 5950684"/>
              <a:gd name="connsiteX1229" fmla="*/ 5392676 w 6100546"/>
              <a:gd name="connsiteY1229" fmla="*/ 3939341 h 5950684"/>
              <a:gd name="connsiteX1230" fmla="*/ 5388071 w 6100546"/>
              <a:gd name="connsiteY1230" fmla="*/ 3943946 h 5950684"/>
              <a:gd name="connsiteX1231" fmla="*/ 5353528 w 6100546"/>
              <a:gd name="connsiteY1231" fmla="*/ 4004971 h 5950684"/>
              <a:gd name="connsiteX1232" fmla="*/ 5322699 w 6100546"/>
              <a:gd name="connsiteY1232" fmla="*/ 4065600 h 5950684"/>
              <a:gd name="connsiteX1233" fmla="*/ 5323231 w 6100546"/>
              <a:gd name="connsiteY1233" fmla="*/ 4064270 h 5950684"/>
              <a:gd name="connsiteX1234" fmla="*/ 5328196 w 6100546"/>
              <a:gd name="connsiteY1234" fmla="*/ 4049877 h 5950684"/>
              <a:gd name="connsiteX1235" fmla="*/ 5332802 w 6100546"/>
              <a:gd name="connsiteY1235" fmla="*/ 4040666 h 5950684"/>
              <a:gd name="connsiteX1236" fmla="*/ 5346620 w 6100546"/>
              <a:gd name="connsiteY1236" fmla="*/ 4008426 h 5950684"/>
              <a:gd name="connsiteX1237" fmla="*/ 5369648 w 6100546"/>
              <a:gd name="connsiteY1237" fmla="*/ 3953158 h 5950684"/>
              <a:gd name="connsiteX1238" fmla="*/ 5374253 w 6100546"/>
              <a:gd name="connsiteY1238" fmla="*/ 3943946 h 5950684"/>
              <a:gd name="connsiteX1239" fmla="*/ 5378859 w 6100546"/>
              <a:gd name="connsiteY1239" fmla="*/ 3934735 h 5950684"/>
              <a:gd name="connsiteX1240" fmla="*/ 5374253 w 6100546"/>
              <a:gd name="connsiteY1240" fmla="*/ 3930129 h 5950684"/>
              <a:gd name="connsiteX1241" fmla="*/ 5360436 w 6100546"/>
              <a:gd name="connsiteY1241" fmla="*/ 3948552 h 5950684"/>
              <a:gd name="connsiteX1242" fmla="*/ 5360436 w 6100546"/>
              <a:gd name="connsiteY1242" fmla="*/ 3953158 h 5950684"/>
              <a:gd name="connsiteX1243" fmla="*/ 5323590 w 6100546"/>
              <a:gd name="connsiteY1243" fmla="*/ 4036059 h 5950684"/>
              <a:gd name="connsiteX1244" fmla="*/ 5323590 w 6100546"/>
              <a:gd name="connsiteY1244" fmla="*/ 4040666 h 5950684"/>
              <a:gd name="connsiteX1245" fmla="*/ 5305168 w 6100546"/>
              <a:gd name="connsiteY1245" fmla="*/ 4063693 h 5950684"/>
              <a:gd name="connsiteX1246" fmla="*/ 5291350 w 6100546"/>
              <a:gd name="connsiteY1246" fmla="*/ 4091328 h 5950684"/>
              <a:gd name="connsiteX1247" fmla="*/ 5266595 w 6100546"/>
              <a:gd name="connsiteY1247" fmla="*/ 4146597 h 5950684"/>
              <a:gd name="connsiteX1248" fmla="*/ 5237163 w 6100546"/>
              <a:gd name="connsiteY1248" fmla="*/ 4192915 h 5950684"/>
              <a:gd name="connsiteX1249" fmla="*/ 5236082 w 6100546"/>
              <a:gd name="connsiteY1249" fmla="*/ 4188048 h 5950684"/>
              <a:gd name="connsiteX1250" fmla="*/ 5107121 w 6100546"/>
              <a:gd name="connsiteY1250" fmla="*/ 4399910 h 5950684"/>
              <a:gd name="connsiteX1251" fmla="*/ 5102517 w 6100546"/>
              <a:gd name="connsiteY1251" fmla="*/ 4399910 h 5950684"/>
              <a:gd name="connsiteX1252" fmla="*/ 5102516 w 6100546"/>
              <a:gd name="connsiteY1252" fmla="*/ 4404516 h 5950684"/>
              <a:gd name="connsiteX1253" fmla="*/ 5102516 w 6100546"/>
              <a:gd name="connsiteY1253" fmla="*/ 4409121 h 5950684"/>
              <a:gd name="connsiteX1254" fmla="*/ 5084093 w 6100546"/>
              <a:gd name="connsiteY1254" fmla="*/ 4422938 h 5950684"/>
              <a:gd name="connsiteX1255" fmla="*/ 5047247 w 6100546"/>
              <a:gd name="connsiteY1255" fmla="*/ 4487417 h 5950684"/>
              <a:gd name="connsiteX1256" fmla="*/ 5047248 w 6100546"/>
              <a:gd name="connsiteY1256" fmla="*/ 4473601 h 5950684"/>
              <a:gd name="connsiteX1257" fmla="*/ 5033430 w 6100546"/>
              <a:gd name="connsiteY1257" fmla="*/ 4505841 h 5950684"/>
              <a:gd name="connsiteX1258" fmla="*/ 5028824 w 6100546"/>
              <a:gd name="connsiteY1258" fmla="*/ 4501235 h 5950684"/>
              <a:gd name="connsiteX1259" fmla="*/ 4973555 w 6100546"/>
              <a:gd name="connsiteY1259" fmla="*/ 4579532 h 5950684"/>
              <a:gd name="connsiteX1260" fmla="*/ 4968950 w 6100546"/>
              <a:gd name="connsiteY1260" fmla="*/ 4579532 h 5950684"/>
              <a:gd name="connsiteX1261" fmla="*/ 4918287 w 6100546"/>
              <a:gd name="connsiteY1261" fmla="*/ 4634799 h 5950684"/>
              <a:gd name="connsiteX1262" fmla="*/ 4858413 w 6100546"/>
              <a:gd name="connsiteY1262" fmla="*/ 4703885 h 5950684"/>
              <a:gd name="connsiteX1263" fmla="*/ 4823294 w 6100546"/>
              <a:gd name="connsiteY1263" fmla="*/ 4733247 h 5950684"/>
              <a:gd name="connsiteX1264" fmla="*/ 4789327 w 6100546"/>
              <a:gd name="connsiteY1264" fmla="*/ 4768227 h 5950684"/>
              <a:gd name="connsiteX1265" fmla="*/ 4789327 w 6100546"/>
              <a:gd name="connsiteY1265" fmla="*/ 4763760 h 5950684"/>
              <a:gd name="connsiteX1266" fmla="*/ 4784721 w 6100546"/>
              <a:gd name="connsiteY1266" fmla="*/ 4768366 h 5950684"/>
              <a:gd name="connsiteX1267" fmla="*/ 4780115 w 6100546"/>
              <a:gd name="connsiteY1267" fmla="*/ 4777577 h 5950684"/>
              <a:gd name="connsiteX1268" fmla="*/ 4780115 w 6100546"/>
              <a:gd name="connsiteY1268" fmla="*/ 4772970 h 5950684"/>
              <a:gd name="connsiteX1269" fmla="*/ 4752481 w 6100546"/>
              <a:gd name="connsiteY1269" fmla="*/ 4800605 h 5950684"/>
              <a:gd name="connsiteX1270" fmla="*/ 4752481 w 6100546"/>
              <a:gd name="connsiteY1270" fmla="*/ 4805211 h 5950684"/>
              <a:gd name="connsiteX1271" fmla="*/ 4747875 w 6100546"/>
              <a:gd name="connsiteY1271" fmla="*/ 4814422 h 5950684"/>
              <a:gd name="connsiteX1272" fmla="*/ 4747875 w 6100546"/>
              <a:gd name="connsiteY1272" fmla="*/ 4805211 h 5950684"/>
              <a:gd name="connsiteX1273" fmla="*/ 4734058 w 6100546"/>
              <a:gd name="connsiteY1273" fmla="*/ 4819028 h 5950684"/>
              <a:gd name="connsiteX1274" fmla="*/ 4734058 w 6100546"/>
              <a:gd name="connsiteY1274" fmla="*/ 4814421 h 5950684"/>
              <a:gd name="connsiteX1275" fmla="*/ 4734058 w 6100546"/>
              <a:gd name="connsiteY1275" fmla="*/ 4809817 h 5950684"/>
              <a:gd name="connsiteX1276" fmla="*/ 4729452 w 6100546"/>
              <a:gd name="connsiteY1276" fmla="*/ 4809817 h 5950684"/>
              <a:gd name="connsiteX1277" fmla="*/ 4729452 w 6100546"/>
              <a:gd name="connsiteY1277" fmla="*/ 4819028 h 5950684"/>
              <a:gd name="connsiteX1278" fmla="*/ 4729453 w 6100546"/>
              <a:gd name="connsiteY1278" fmla="*/ 4823634 h 5950684"/>
              <a:gd name="connsiteX1279" fmla="*/ 4724847 w 6100546"/>
              <a:gd name="connsiteY1279" fmla="*/ 4828240 h 5950684"/>
              <a:gd name="connsiteX1280" fmla="*/ 4720241 w 6100546"/>
              <a:gd name="connsiteY1280" fmla="*/ 4828240 h 5950684"/>
              <a:gd name="connsiteX1281" fmla="*/ 4715635 w 6100546"/>
              <a:gd name="connsiteY1281" fmla="*/ 4828240 h 5950684"/>
              <a:gd name="connsiteX1282" fmla="*/ 4715635 w 6100546"/>
              <a:gd name="connsiteY1282" fmla="*/ 4832845 h 5950684"/>
              <a:gd name="connsiteX1283" fmla="*/ 4715635 w 6100546"/>
              <a:gd name="connsiteY1283" fmla="*/ 4837451 h 5950684"/>
              <a:gd name="connsiteX1284" fmla="*/ 4701818 w 6100546"/>
              <a:gd name="connsiteY1284" fmla="*/ 4846662 h 5950684"/>
              <a:gd name="connsiteX1285" fmla="*/ 4701819 w 6100546"/>
              <a:gd name="connsiteY1285" fmla="*/ 4842057 h 5950684"/>
              <a:gd name="connsiteX1286" fmla="*/ 4697212 w 6100546"/>
              <a:gd name="connsiteY1286" fmla="*/ 4846662 h 5950684"/>
              <a:gd name="connsiteX1287" fmla="*/ 4692606 w 6100546"/>
              <a:gd name="connsiteY1287" fmla="*/ 4851268 h 5950684"/>
              <a:gd name="connsiteX1288" fmla="*/ 4688001 w 6100546"/>
              <a:gd name="connsiteY1288" fmla="*/ 4860479 h 5950684"/>
              <a:gd name="connsiteX1289" fmla="*/ 4688001 w 6100546"/>
              <a:gd name="connsiteY1289" fmla="*/ 4855874 h 5950684"/>
              <a:gd name="connsiteX1290" fmla="*/ 4669578 w 6100546"/>
              <a:gd name="connsiteY1290" fmla="*/ 4865085 h 5950684"/>
              <a:gd name="connsiteX1291" fmla="*/ 4669578 w 6100546"/>
              <a:gd name="connsiteY1291" fmla="*/ 4855874 h 5950684"/>
              <a:gd name="connsiteX1292" fmla="*/ 4651155 w 6100546"/>
              <a:gd name="connsiteY1292" fmla="*/ 4869691 h 5950684"/>
              <a:gd name="connsiteX1293" fmla="*/ 4651155 w 6100546"/>
              <a:gd name="connsiteY1293" fmla="*/ 4865085 h 5950684"/>
              <a:gd name="connsiteX1294" fmla="*/ 4655761 w 6100546"/>
              <a:gd name="connsiteY1294" fmla="*/ 4860479 h 5950684"/>
              <a:gd name="connsiteX1295" fmla="*/ 4655761 w 6100546"/>
              <a:gd name="connsiteY1295" fmla="*/ 4855874 h 5950684"/>
              <a:gd name="connsiteX1296" fmla="*/ 4651155 w 6100546"/>
              <a:gd name="connsiteY1296" fmla="*/ 4860479 h 5950684"/>
              <a:gd name="connsiteX1297" fmla="*/ 4646549 w 6100546"/>
              <a:gd name="connsiteY1297" fmla="*/ 4865085 h 5950684"/>
              <a:gd name="connsiteX1298" fmla="*/ 4641943 w 6100546"/>
              <a:gd name="connsiteY1298" fmla="*/ 4874296 h 5950684"/>
              <a:gd name="connsiteX1299" fmla="*/ 4651155 w 6100546"/>
              <a:gd name="connsiteY1299" fmla="*/ 4874296 h 5950684"/>
              <a:gd name="connsiteX1300" fmla="*/ 4646549 w 6100546"/>
              <a:gd name="connsiteY1300" fmla="*/ 4878902 h 5950684"/>
              <a:gd name="connsiteX1301" fmla="*/ 4623520 w 6100546"/>
              <a:gd name="connsiteY1301" fmla="*/ 4906536 h 5950684"/>
              <a:gd name="connsiteX1302" fmla="*/ 4641943 w 6100546"/>
              <a:gd name="connsiteY1302" fmla="*/ 4901931 h 5950684"/>
              <a:gd name="connsiteX1303" fmla="*/ 4623520 w 6100546"/>
              <a:gd name="connsiteY1303" fmla="*/ 4915748 h 5950684"/>
              <a:gd name="connsiteX1304" fmla="*/ 4609703 w 6100546"/>
              <a:gd name="connsiteY1304" fmla="*/ 4929565 h 5950684"/>
              <a:gd name="connsiteX1305" fmla="*/ 4600492 w 6100546"/>
              <a:gd name="connsiteY1305" fmla="*/ 4934170 h 5950684"/>
              <a:gd name="connsiteX1306" fmla="*/ 4600493 w 6100546"/>
              <a:gd name="connsiteY1306" fmla="*/ 4924959 h 5950684"/>
              <a:gd name="connsiteX1307" fmla="*/ 4582069 w 6100546"/>
              <a:gd name="connsiteY1307" fmla="*/ 4943381 h 5950684"/>
              <a:gd name="connsiteX1308" fmla="*/ 4577464 w 6100546"/>
              <a:gd name="connsiteY1308" fmla="*/ 4938776 h 5950684"/>
              <a:gd name="connsiteX1309" fmla="*/ 4582069 w 6100546"/>
              <a:gd name="connsiteY1309" fmla="*/ 4934170 h 5950684"/>
              <a:gd name="connsiteX1310" fmla="*/ 4582069 w 6100546"/>
              <a:gd name="connsiteY1310" fmla="*/ 4929564 h 5950684"/>
              <a:gd name="connsiteX1311" fmla="*/ 4577463 w 6100546"/>
              <a:gd name="connsiteY1311" fmla="*/ 4929565 h 5950684"/>
              <a:gd name="connsiteX1312" fmla="*/ 4572858 w 6100546"/>
              <a:gd name="connsiteY1312" fmla="*/ 4934170 h 5950684"/>
              <a:gd name="connsiteX1313" fmla="*/ 4572858 w 6100546"/>
              <a:gd name="connsiteY1313" fmla="*/ 4938776 h 5950684"/>
              <a:gd name="connsiteX1314" fmla="*/ 4568252 w 6100546"/>
              <a:gd name="connsiteY1314" fmla="*/ 4943382 h 5950684"/>
              <a:gd name="connsiteX1315" fmla="*/ 4563646 w 6100546"/>
              <a:gd name="connsiteY1315" fmla="*/ 4947988 h 5950684"/>
              <a:gd name="connsiteX1316" fmla="*/ 4559040 w 6100546"/>
              <a:gd name="connsiteY1316" fmla="*/ 4947988 h 5950684"/>
              <a:gd name="connsiteX1317" fmla="*/ 4559040 w 6100546"/>
              <a:gd name="connsiteY1317" fmla="*/ 4952593 h 5950684"/>
              <a:gd name="connsiteX1318" fmla="*/ 4554435 w 6100546"/>
              <a:gd name="connsiteY1318" fmla="*/ 4952593 h 5950684"/>
              <a:gd name="connsiteX1319" fmla="*/ 4554434 w 6100546"/>
              <a:gd name="connsiteY1319" fmla="*/ 4947988 h 5950684"/>
              <a:gd name="connsiteX1320" fmla="*/ 4559040 w 6100546"/>
              <a:gd name="connsiteY1320" fmla="*/ 4938776 h 5950684"/>
              <a:gd name="connsiteX1321" fmla="*/ 4568252 w 6100546"/>
              <a:gd name="connsiteY1321" fmla="*/ 4929565 h 5950684"/>
              <a:gd name="connsiteX1322" fmla="*/ 4563646 w 6100546"/>
              <a:gd name="connsiteY1322" fmla="*/ 4929564 h 5950684"/>
              <a:gd name="connsiteX1323" fmla="*/ 4559040 w 6100546"/>
              <a:gd name="connsiteY1323" fmla="*/ 4934170 h 5950684"/>
              <a:gd name="connsiteX1324" fmla="*/ 4545223 w 6100546"/>
              <a:gd name="connsiteY1324" fmla="*/ 4947988 h 5950684"/>
              <a:gd name="connsiteX1325" fmla="*/ 4545223 w 6100546"/>
              <a:gd name="connsiteY1325" fmla="*/ 4952593 h 5950684"/>
              <a:gd name="connsiteX1326" fmla="*/ 4536012 w 6100546"/>
              <a:gd name="connsiteY1326" fmla="*/ 4966410 h 5950684"/>
              <a:gd name="connsiteX1327" fmla="*/ 4476137 w 6100546"/>
              <a:gd name="connsiteY1327" fmla="*/ 5012467 h 5950684"/>
              <a:gd name="connsiteX1328" fmla="*/ 4471532 w 6100546"/>
              <a:gd name="connsiteY1328" fmla="*/ 5012467 h 5950684"/>
              <a:gd name="connsiteX1329" fmla="*/ 4466926 w 6100546"/>
              <a:gd name="connsiteY1329" fmla="*/ 5017073 h 5950684"/>
              <a:gd name="connsiteX1330" fmla="*/ 4453109 w 6100546"/>
              <a:gd name="connsiteY1330" fmla="*/ 5026283 h 5950684"/>
              <a:gd name="connsiteX1331" fmla="*/ 4448503 w 6100546"/>
              <a:gd name="connsiteY1331" fmla="*/ 5030890 h 5950684"/>
              <a:gd name="connsiteX1332" fmla="*/ 4434686 w 6100546"/>
              <a:gd name="connsiteY1332" fmla="*/ 5040101 h 5950684"/>
              <a:gd name="connsiteX1333" fmla="*/ 4420869 w 6100546"/>
              <a:gd name="connsiteY1333" fmla="*/ 5049313 h 5950684"/>
              <a:gd name="connsiteX1334" fmla="*/ 4379417 w 6100546"/>
              <a:gd name="connsiteY1334" fmla="*/ 5072340 h 5950684"/>
              <a:gd name="connsiteX1335" fmla="*/ 4333360 w 6100546"/>
              <a:gd name="connsiteY1335" fmla="*/ 5113792 h 5950684"/>
              <a:gd name="connsiteX1336" fmla="*/ 4319543 w 6100546"/>
              <a:gd name="connsiteY1336" fmla="*/ 5123004 h 5950684"/>
              <a:gd name="connsiteX1337" fmla="*/ 4329330 w 6100546"/>
              <a:gd name="connsiteY1337" fmla="*/ 5124155 h 5950684"/>
              <a:gd name="connsiteX1338" fmla="*/ 4328966 w 6100546"/>
              <a:gd name="connsiteY1338" fmla="*/ 5125061 h 5950684"/>
              <a:gd name="connsiteX1339" fmla="*/ 4356017 w 6100546"/>
              <a:gd name="connsiteY1339" fmla="*/ 5108717 h 5950684"/>
              <a:gd name="connsiteX1340" fmla="*/ 4376854 w 6100546"/>
              <a:gd name="connsiteY1340" fmla="*/ 5097547 h 5950684"/>
              <a:gd name="connsiteX1341" fmla="*/ 4384598 w 6100546"/>
              <a:gd name="connsiteY1341" fmla="*/ 5092491 h 5950684"/>
              <a:gd name="connsiteX1342" fmla="*/ 4407051 w 6100546"/>
              <a:gd name="connsiteY1342" fmla="*/ 5072341 h 5950684"/>
              <a:gd name="connsiteX1343" fmla="*/ 4425474 w 6100546"/>
              <a:gd name="connsiteY1343" fmla="*/ 5058524 h 5950684"/>
              <a:gd name="connsiteX1344" fmla="*/ 4425474 w 6100546"/>
              <a:gd name="connsiteY1344" fmla="*/ 5063130 h 5950684"/>
              <a:gd name="connsiteX1345" fmla="*/ 4420869 w 6100546"/>
              <a:gd name="connsiteY1345" fmla="*/ 5063130 h 5950684"/>
              <a:gd name="connsiteX1346" fmla="*/ 4420869 w 6100546"/>
              <a:gd name="connsiteY1346" fmla="*/ 5067736 h 5950684"/>
              <a:gd name="connsiteX1347" fmla="*/ 4425475 w 6100546"/>
              <a:gd name="connsiteY1347" fmla="*/ 5067736 h 5950684"/>
              <a:gd name="connsiteX1348" fmla="*/ 4430081 w 6100546"/>
              <a:gd name="connsiteY1348" fmla="*/ 5063130 h 5950684"/>
              <a:gd name="connsiteX1349" fmla="*/ 4430080 w 6100546"/>
              <a:gd name="connsiteY1349" fmla="*/ 5049313 h 5950684"/>
              <a:gd name="connsiteX1350" fmla="*/ 4443897 w 6100546"/>
              <a:gd name="connsiteY1350" fmla="*/ 5040101 h 5950684"/>
              <a:gd name="connsiteX1351" fmla="*/ 4453109 w 6100546"/>
              <a:gd name="connsiteY1351" fmla="*/ 5040101 h 5950684"/>
              <a:gd name="connsiteX1352" fmla="*/ 4453109 w 6100546"/>
              <a:gd name="connsiteY1352" fmla="*/ 5044707 h 5950684"/>
              <a:gd name="connsiteX1353" fmla="*/ 4457714 w 6100546"/>
              <a:gd name="connsiteY1353" fmla="*/ 5040100 h 5950684"/>
              <a:gd name="connsiteX1354" fmla="*/ 4457714 w 6100546"/>
              <a:gd name="connsiteY1354" fmla="*/ 5035496 h 5950684"/>
              <a:gd name="connsiteX1355" fmla="*/ 4462320 w 6100546"/>
              <a:gd name="connsiteY1355" fmla="*/ 5026284 h 5950684"/>
              <a:gd name="connsiteX1356" fmla="*/ 4471531 w 6100546"/>
              <a:gd name="connsiteY1356" fmla="*/ 5021679 h 5950684"/>
              <a:gd name="connsiteX1357" fmla="*/ 4476137 w 6100546"/>
              <a:gd name="connsiteY1357" fmla="*/ 5021679 h 5950684"/>
              <a:gd name="connsiteX1358" fmla="*/ 4476137 w 6100546"/>
              <a:gd name="connsiteY1358" fmla="*/ 5017072 h 5950684"/>
              <a:gd name="connsiteX1359" fmla="*/ 4480743 w 6100546"/>
              <a:gd name="connsiteY1359" fmla="*/ 5012467 h 5950684"/>
              <a:gd name="connsiteX1360" fmla="*/ 4540617 w 6100546"/>
              <a:gd name="connsiteY1360" fmla="*/ 4971016 h 5950684"/>
              <a:gd name="connsiteX1361" fmla="*/ 4545224 w 6100546"/>
              <a:gd name="connsiteY1361" fmla="*/ 4966410 h 5950684"/>
              <a:gd name="connsiteX1362" fmla="*/ 4545224 w 6100546"/>
              <a:gd name="connsiteY1362" fmla="*/ 4961805 h 5950684"/>
              <a:gd name="connsiteX1363" fmla="*/ 4549829 w 6100546"/>
              <a:gd name="connsiteY1363" fmla="*/ 4961805 h 5950684"/>
              <a:gd name="connsiteX1364" fmla="*/ 4549829 w 6100546"/>
              <a:gd name="connsiteY1364" fmla="*/ 4966410 h 5950684"/>
              <a:gd name="connsiteX1365" fmla="*/ 4572858 w 6100546"/>
              <a:gd name="connsiteY1365" fmla="*/ 4957199 h 5950684"/>
              <a:gd name="connsiteX1366" fmla="*/ 4572858 w 6100546"/>
              <a:gd name="connsiteY1366" fmla="*/ 4952593 h 5950684"/>
              <a:gd name="connsiteX1367" fmla="*/ 4568252 w 6100546"/>
              <a:gd name="connsiteY1367" fmla="*/ 4966410 h 5950684"/>
              <a:gd name="connsiteX1368" fmla="*/ 4605098 w 6100546"/>
              <a:gd name="connsiteY1368" fmla="*/ 4938776 h 5950684"/>
              <a:gd name="connsiteX1369" fmla="*/ 4628126 w 6100546"/>
              <a:gd name="connsiteY1369" fmla="*/ 4920353 h 5950684"/>
              <a:gd name="connsiteX1370" fmla="*/ 4651155 w 6100546"/>
              <a:gd name="connsiteY1370" fmla="*/ 4901931 h 5950684"/>
              <a:gd name="connsiteX1371" fmla="*/ 4692606 w 6100546"/>
              <a:gd name="connsiteY1371" fmla="*/ 4865085 h 5950684"/>
              <a:gd name="connsiteX1372" fmla="*/ 4706424 w 6100546"/>
              <a:gd name="connsiteY1372" fmla="*/ 4855874 h 5950684"/>
              <a:gd name="connsiteX1373" fmla="*/ 4715635 w 6100546"/>
              <a:gd name="connsiteY1373" fmla="*/ 4846662 h 5950684"/>
              <a:gd name="connsiteX1374" fmla="*/ 4724846 w 6100546"/>
              <a:gd name="connsiteY1374" fmla="*/ 4842057 h 5950684"/>
              <a:gd name="connsiteX1375" fmla="*/ 4738664 w 6100546"/>
              <a:gd name="connsiteY1375" fmla="*/ 4828240 h 5950684"/>
              <a:gd name="connsiteX1376" fmla="*/ 4752481 w 6100546"/>
              <a:gd name="connsiteY1376" fmla="*/ 4819028 h 5950684"/>
              <a:gd name="connsiteX1377" fmla="*/ 4761692 w 6100546"/>
              <a:gd name="connsiteY1377" fmla="*/ 4805211 h 5950684"/>
              <a:gd name="connsiteX1378" fmla="*/ 4766298 w 6100546"/>
              <a:gd name="connsiteY1378" fmla="*/ 4805211 h 5950684"/>
              <a:gd name="connsiteX1379" fmla="*/ 4904470 w 6100546"/>
              <a:gd name="connsiteY1379" fmla="*/ 4685463 h 5950684"/>
              <a:gd name="connsiteX1380" fmla="*/ 4909075 w 6100546"/>
              <a:gd name="connsiteY1380" fmla="*/ 4685463 h 5950684"/>
              <a:gd name="connsiteX1381" fmla="*/ 4913681 w 6100546"/>
              <a:gd name="connsiteY1381" fmla="*/ 4685463 h 5950684"/>
              <a:gd name="connsiteX1382" fmla="*/ 4904470 w 6100546"/>
              <a:gd name="connsiteY1382" fmla="*/ 4694674 h 5950684"/>
              <a:gd name="connsiteX1383" fmla="*/ 4895258 w 6100546"/>
              <a:gd name="connsiteY1383" fmla="*/ 4703886 h 5950684"/>
              <a:gd name="connsiteX1384" fmla="*/ 4886047 w 6100546"/>
              <a:gd name="connsiteY1384" fmla="*/ 4713096 h 5950684"/>
              <a:gd name="connsiteX1385" fmla="*/ 4886047 w 6100546"/>
              <a:gd name="connsiteY1385" fmla="*/ 4717703 h 5950684"/>
              <a:gd name="connsiteX1386" fmla="*/ 4863018 w 6100546"/>
              <a:gd name="connsiteY1386" fmla="*/ 4740731 h 5950684"/>
              <a:gd name="connsiteX1387" fmla="*/ 4863018 w 6100546"/>
              <a:gd name="connsiteY1387" fmla="*/ 4745336 h 5950684"/>
              <a:gd name="connsiteX1388" fmla="*/ 4867625 w 6100546"/>
              <a:gd name="connsiteY1388" fmla="*/ 4745337 h 5950684"/>
              <a:gd name="connsiteX1389" fmla="*/ 4872231 w 6100546"/>
              <a:gd name="connsiteY1389" fmla="*/ 4740731 h 5950684"/>
              <a:gd name="connsiteX1390" fmla="*/ 4876835 w 6100546"/>
              <a:gd name="connsiteY1390" fmla="*/ 4736126 h 5950684"/>
              <a:gd name="connsiteX1391" fmla="*/ 4881441 w 6100546"/>
              <a:gd name="connsiteY1391" fmla="*/ 4731520 h 5950684"/>
              <a:gd name="connsiteX1392" fmla="*/ 4890652 w 6100546"/>
              <a:gd name="connsiteY1392" fmla="*/ 4722309 h 5950684"/>
              <a:gd name="connsiteX1393" fmla="*/ 4875828 w 6100546"/>
              <a:gd name="connsiteY1393" fmla="*/ 4737564 h 5950684"/>
              <a:gd name="connsiteX1394" fmla="*/ 4863102 w 6100546"/>
              <a:gd name="connsiteY1394" fmla="*/ 4749899 h 5950684"/>
              <a:gd name="connsiteX1395" fmla="*/ 4863018 w 6100546"/>
              <a:gd name="connsiteY1395" fmla="*/ 4749943 h 5950684"/>
              <a:gd name="connsiteX1396" fmla="*/ 4863004 w 6100546"/>
              <a:gd name="connsiteY1396" fmla="*/ 4749991 h 5950684"/>
              <a:gd name="connsiteX1397" fmla="*/ 4861867 w 6100546"/>
              <a:gd name="connsiteY1397" fmla="*/ 4751094 h 5950684"/>
              <a:gd name="connsiteX1398" fmla="*/ 4853808 w 6100546"/>
              <a:gd name="connsiteY1398" fmla="*/ 4745337 h 5950684"/>
              <a:gd name="connsiteX1399" fmla="*/ 4807749 w 6100546"/>
              <a:gd name="connsiteY1399" fmla="*/ 4796000 h 5950684"/>
              <a:gd name="connsiteX1400" fmla="*/ 4812355 w 6100546"/>
              <a:gd name="connsiteY1400" fmla="*/ 4795999 h 5950684"/>
              <a:gd name="connsiteX1401" fmla="*/ 4798538 w 6100546"/>
              <a:gd name="connsiteY1401" fmla="*/ 4809817 h 5950684"/>
              <a:gd name="connsiteX1402" fmla="*/ 4793932 w 6100546"/>
              <a:gd name="connsiteY1402" fmla="*/ 4809817 h 5950684"/>
              <a:gd name="connsiteX1403" fmla="*/ 4793932 w 6100546"/>
              <a:gd name="connsiteY1403" fmla="*/ 4814422 h 5950684"/>
              <a:gd name="connsiteX1404" fmla="*/ 4789328 w 6100546"/>
              <a:gd name="connsiteY1404" fmla="*/ 4814422 h 5950684"/>
              <a:gd name="connsiteX1405" fmla="*/ 4780116 w 6100546"/>
              <a:gd name="connsiteY1405" fmla="*/ 4823634 h 5950684"/>
              <a:gd name="connsiteX1406" fmla="*/ 4775510 w 6100546"/>
              <a:gd name="connsiteY1406" fmla="*/ 4832845 h 5950684"/>
              <a:gd name="connsiteX1407" fmla="*/ 4770905 w 6100546"/>
              <a:gd name="connsiteY1407" fmla="*/ 4837451 h 5950684"/>
              <a:gd name="connsiteX1408" fmla="*/ 4757086 w 6100546"/>
              <a:gd name="connsiteY1408" fmla="*/ 4851268 h 5950684"/>
              <a:gd name="connsiteX1409" fmla="*/ 4757087 w 6100546"/>
              <a:gd name="connsiteY1409" fmla="*/ 4855874 h 5950684"/>
              <a:gd name="connsiteX1410" fmla="*/ 4752481 w 6100546"/>
              <a:gd name="connsiteY1410" fmla="*/ 4860479 h 5950684"/>
              <a:gd name="connsiteX1411" fmla="*/ 4711029 w 6100546"/>
              <a:gd name="connsiteY1411" fmla="*/ 4897325 h 5950684"/>
              <a:gd name="connsiteX1412" fmla="*/ 4706424 w 6100546"/>
              <a:gd name="connsiteY1412" fmla="*/ 4892719 h 5950684"/>
              <a:gd name="connsiteX1413" fmla="*/ 4711029 w 6100546"/>
              <a:gd name="connsiteY1413" fmla="*/ 4888113 h 5950684"/>
              <a:gd name="connsiteX1414" fmla="*/ 4715635 w 6100546"/>
              <a:gd name="connsiteY1414" fmla="*/ 4883508 h 5950684"/>
              <a:gd name="connsiteX1415" fmla="*/ 4711029 w 6100546"/>
              <a:gd name="connsiteY1415" fmla="*/ 4883508 h 5950684"/>
              <a:gd name="connsiteX1416" fmla="*/ 4706424 w 6100546"/>
              <a:gd name="connsiteY1416" fmla="*/ 4888114 h 5950684"/>
              <a:gd name="connsiteX1417" fmla="*/ 4701818 w 6100546"/>
              <a:gd name="connsiteY1417" fmla="*/ 4892719 h 5950684"/>
              <a:gd name="connsiteX1418" fmla="*/ 4701818 w 6100546"/>
              <a:gd name="connsiteY1418" fmla="*/ 4897325 h 5950684"/>
              <a:gd name="connsiteX1419" fmla="*/ 4701818 w 6100546"/>
              <a:gd name="connsiteY1419" fmla="*/ 4901931 h 5950684"/>
              <a:gd name="connsiteX1420" fmla="*/ 4660367 w 6100546"/>
              <a:gd name="connsiteY1420" fmla="*/ 4934170 h 5950684"/>
              <a:gd name="connsiteX1421" fmla="*/ 4660366 w 6100546"/>
              <a:gd name="connsiteY1421" fmla="*/ 4938775 h 5950684"/>
              <a:gd name="connsiteX1422" fmla="*/ 4568252 w 6100546"/>
              <a:gd name="connsiteY1422" fmla="*/ 5003256 h 5950684"/>
              <a:gd name="connsiteX1423" fmla="*/ 4439291 w 6100546"/>
              <a:gd name="connsiteY1423" fmla="*/ 5090764 h 5950684"/>
              <a:gd name="connsiteX1424" fmla="*/ 4411657 w 6100546"/>
              <a:gd name="connsiteY1424" fmla="*/ 5109187 h 5950684"/>
              <a:gd name="connsiteX1425" fmla="*/ 4407051 w 6100546"/>
              <a:gd name="connsiteY1425" fmla="*/ 5109187 h 5950684"/>
              <a:gd name="connsiteX1426" fmla="*/ 4393235 w 6100546"/>
              <a:gd name="connsiteY1426" fmla="*/ 5113792 h 5950684"/>
              <a:gd name="connsiteX1427" fmla="*/ 4388628 w 6100546"/>
              <a:gd name="connsiteY1427" fmla="*/ 5118398 h 5950684"/>
              <a:gd name="connsiteX1428" fmla="*/ 4393234 w 6100546"/>
              <a:gd name="connsiteY1428" fmla="*/ 5118398 h 5950684"/>
              <a:gd name="connsiteX1429" fmla="*/ 4324148 w 6100546"/>
              <a:gd name="connsiteY1429" fmla="*/ 5159849 h 5950684"/>
              <a:gd name="connsiteX1430" fmla="*/ 4268881 w 6100546"/>
              <a:gd name="connsiteY1430" fmla="*/ 5192089 h 5950684"/>
              <a:gd name="connsiteX1431" fmla="*/ 4265944 w 6100546"/>
              <a:gd name="connsiteY1431" fmla="*/ 5193557 h 5950684"/>
              <a:gd name="connsiteX1432" fmla="*/ 4264768 w 6100546"/>
              <a:gd name="connsiteY1432" fmla="*/ 5194307 h 5950684"/>
              <a:gd name="connsiteX1433" fmla="*/ 4163092 w 6100546"/>
              <a:gd name="connsiteY1433" fmla="*/ 5246946 h 5950684"/>
              <a:gd name="connsiteX1434" fmla="*/ 4162948 w 6100546"/>
              <a:gd name="connsiteY1434" fmla="*/ 5247358 h 5950684"/>
              <a:gd name="connsiteX1435" fmla="*/ 4150184 w 6100546"/>
              <a:gd name="connsiteY1435" fmla="*/ 5253628 h 5950684"/>
              <a:gd name="connsiteX1436" fmla="*/ 3989120 w 6100546"/>
              <a:gd name="connsiteY1436" fmla="*/ 5337012 h 5950684"/>
              <a:gd name="connsiteX1437" fmla="*/ 3394459 w 6100546"/>
              <a:gd name="connsiteY1437" fmla="*/ 5517046 h 5950684"/>
              <a:gd name="connsiteX1438" fmla="*/ 3949658 w 6100546"/>
              <a:gd name="connsiteY1438" fmla="*/ 5405038 h 5950684"/>
              <a:gd name="connsiteX1439" fmla="*/ 3950142 w 6100546"/>
              <a:gd name="connsiteY1439" fmla="*/ 5407102 h 5950684"/>
              <a:gd name="connsiteX1440" fmla="*/ 3997142 w 6100546"/>
              <a:gd name="connsiteY1440" fmla="*/ 5385528 h 5950684"/>
              <a:gd name="connsiteX1441" fmla="*/ 4116891 w 6100546"/>
              <a:gd name="connsiteY1441" fmla="*/ 5334866 h 5950684"/>
              <a:gd name="connsiteX1442" fmla="*/ 4126102 w 6100546"/>
              <a:gd name="connsiteY1442" fmla="*/ 5325654 h 5950684"/>
              <a:gd name="connsiteX1443" fmla="*/ 4126103 w 6100546"/>
              <a:gd name="connsiteY1443" fmla="*/ 5330259 h 5950684"/>
              <a:gd name="connsiteX1444" fmla="*/ 4181371 w 6100546"/>
              <a:gd name="connsiteY1444" fmla="*/ 5298020 h 5950684"/>
              <a:gd name="connsiteX1445" fmla="*/ 4213611 w 6100546"/>
              <a:gd name="connsiteY1445" fmla="*/ 5288809 h 5950684"/>
              <a:gd name="connsiteX1446" fmla="*/ 4209005 w 6100546"/>
              <a:gd name="connsiteY1446" fmla="*/ 5279597 h 5950684"/>
              <a:gd name="connsiteX1447" fmla="*/ 4232034 w 6100546"/>
              <a:gd name="connsiteY1447" fmla="*/ 5265780 h 5950684"/>
              <a:gd name="connsiteX1448" fmla="*/ 4245851 w 6100546"/>
              <a:gd name="connsiteY1448" fmla="*/ 5270386 h 5950684"/>
              <a:gd name="connsiteX1449" fmla="*/ 4351784 w 6100546"/>
              <a:gd name="connsiteY1449" fmla="*/ 5201301 h 5950684"/>
              <a:gd name="connsiteX1450" fmla="*/ 4360994 w 6100546"/>
              <a:gd name="connsiteY1450" fmla="*/ 5196695 h 5950684"/>
              <a:gd name="connsiteX1451" fmla="*/ 4365600 w 6100546"/>
              <a:gd name="connsiteY1451" fmla="*/ 5192088 h 5950684"/>
              <a:gd name="connsiteX1452" fmla="*/ 4360994 w 6100546"/>
              <a:gd name="connsiteY1452" fmla="*/ 5192089 h 5950684"/>
              <a:gd name="connsiteX1453" fmla="*/ 4356388 w 6100546"/>
              <a:gd name="connsiteY1453" fmla="*/ 5192089 h 5950684"/>
              <a:gd name="connsiteX1454" fmla="*/ 4471531 w 6100546"/>
              <a:gd name="connsiteY1454" fmla="*/ 5118398 h 5950684"/>
              <a:gd name="connsiteX1455" fmla="*/ 4485349 w 6100546"/>
              <a:gd name="connsiteY1455" fmla="*/ 5123004 h 5950684"/>
              <a:gd name="connsiteX1456" fmla="*/ 4655761 w 6100546"/>
              <a:gd name="connsiteY1456" fmla="*/ 4994044 h 5950684"/>
              <a:gd name="connsiteX1457" fmla="*/ 4821567 w 6100546"/>
              <a:gd name="connsiteY1457" fmla="*/ 4851268 h 5950684"/>
              <a:gd name="connsiteX1458" fmla="*/ 4770904 w 6100546"/>
              <a:gd name="connsiteY1458" fmla="*/ 4892719 h 5950684"/>
              <a:gd name="connsiteX1459" fmla="*/ 4757086 w 6100546"/>
              <a:gd name="connsiteY1459" fmla="*/ 4897325 h 5950684"/>
              <a:gd name="connsiteX1460" fmla="*/ 4641944 w 6100546"/>
              <a:gd name="connsiteY1460" fmla="*/ 4989439 h 5950684"/>
              <a:gd name="connsiteX1461" fmla="*/ 4499166 w 6100546"/>
              <a:gd name="connsiteY1461" fmla="*/ 5095370 h 5950684"/>
              <a:gd name="connsiteX1462" fmla="*/ 4480743 w 6100546"/>
              <a:gd name="connsiteY1462" fmla="*/ 5099975 h 5950684"/>
              <a:gd name="connsiteX1463" fmla="*/ 4402446 w 6100546"/>
              <a:gd name="connsiteY1463" fmla="*/ 5155244 h 5950684"/>
              <a:gd name="connsiteX1464" fmla="*/ 4393234 w 6100546"/>
              <a:gd name="connsiteY1464" fmla="*/ 5155244 h 5950684"/>
              <a:gd name="connsiteX1465" fmla="*/ 4393235 w 6100546"/>
              <a:gd name="connsiteY1465" fmla="*/ 5164455 h 5950684"/>
              <a:gd name="connsiteX1466" fmla="*/ 4287304 w 6100546"/>
              <a:gd name="connsiteY1466" fmla="*/ 5219723 h 5950684"/>
              <a:gd name="connsiteX1467" fmla="*/ 4301120 w 6100546"/>
              <a:gd name="connsiteY1467" fmla="*/ 5210512 h 5950684"/>
              <a:gd name="connsiteX1468" fmla="*/ 4337965 w 6100546"/>
              <a:gd name="connsiteY1468" fmla="*/ 5182878 h 5950684"/>
              <a:gd name="connsiteX1469" fmla="*/ 4407051 w 6100546"/>
              <a:gd name="connsiteY1469" fmla="*/ 5132215 h 5950684"/>
              <a:gd name="connsiteX1470" fmla="*/ 4416263 w 6100546"/>
              <a:gd name="connsiteY1470" fmla="*/ 5127609 h 5950684"/>
              <a:gd name="connsiteX1471" fmla="*/ 4425474 w 6100546"/>
              <a:gd name="connsiteY1471" fmla="*/ 5127610 h 5950684"/>
              <a:gd name="connsiteX1472" fmla="*/ 4448503 w 6100546"/>
              <a:gd name="connsiteY1472" fmla="*/ 5104581 h 5950684"/>
              <a:gd name="connsiteX1473" fmla="*/ 4480744 w 6100546"/>
              <a:gd name="connsiteY1473" fmla="*/ 5081553 h 5950684"/>
              <a:gd name="connsiteX1474" fmla="*/ 4540617 w 6100546"/>
              <a:gd name="connsiteY1474" fmla="*/ 5049313 h 5950684"/>
              <a:gd name="connsiteX1475" fmla="*/ 4540617 w 6100546"/>
              <a:gd name="connsiteY1475" fmla="*/ 5044707 h 5950684"/>
              <a:gd name="connsiteX1476" fmla="*/ 4559040 w 6100546"/>
              <a:gd name="connsiteY1476" fmla="*/ 5030890 h 5950684"/>
              <a:gd name="connsiteX1477" fmla="*/ 4563647 w 6100546"/>
              <a:gd name="connsiteY1477" fmla="*/ 5026284 h 5950684"/>
              <a:gd name="connsiteX1478" fmla="*/ 4600492 w 6100546"/>
              <a:gd name="connsiteY1478" fmla="*/ 4998650 h 5950684"/>
              <a:gd name="connsiteX1479" fmla="*/ 4618915 w 6100546"/>
              <a:gd name="connsiteY1479" fmla="*/ 4984832 h 5950684"/>
              <a:gd name="connsiteX1480" fmla="*/ 4674183 w 6100546"/>
              <a:gd name="connsiteY1480" fmla="*/ 4943382 h 5950684"/>
              <a:gd name="connsiteX1481" fmla="*/ 4697212 w 6100546"/>
              <a:gd name="connsiteY1481" fmla="*/ 4924959 h 5950684"/>
              <a:gd name="connsiteX1482" fmla="*/ 4701818 w 6100546"/>
              <a:gd name="connsiteY1482" fmla="*/ 4924959 h 5950684"/>
              <a:gd name="connsiteX1483" fmla="*/ 4706424 w 6100546"/>
              <a:gd name="connsiteY1483" fmla="*/ 4920353 h 5950684"/>
              <a:gd name="connsiteX1484" fmla="*/ 4706424 w 6100546"/>
              <a:gd name="connsiteY1484" fmla="*/ 4915748 h 5950684"/>
              <a:gd name="connsiteX1485" fmla="*/ 4711029 w 6100546"/>
              <a:gd name="connsiteY1485" fmla="*/ 4915748 h 5950684"/>
              <a:gd name="connsiteX1486" fmla="*/ 4798538 w 6100546"/>
              <a:gd name="connsiteY1486" fmla="*/ 4837451 h 5950684"/>
              <a:gd name="connsiteX1487" fmla="*/ 4807749 w 6100546"/>
              <a:gd name="connsiteY1487" fmla="*/ 4832845 h 5950684"/>
              <a:gd name="connsiteX1488" fmla="*/ 4812355 w 6100546"/>
              <a:gd name="connsiteY1488" fmla="*/ 4832845 h 5950684"/>
              <a:gd name="connsiteX1489" fmla="*/ 4816962 w 6100546"/>
              <a:gd name="connsiteY1489" fmla="*/ 4828240 h 5950684"/>
              <a:gd name="connsiteX1490" fmla="*/ 4816961 w 6100546"/>
              <a:gd name="connsiteY1490" fmla="*/ 4823634 h 5950684"/>
              <a:gd name="connsiteX1491" fmla="*/ 4849202 w 6100546"/>
              <a:gd name="connsiteY1491" fmla="*/ 4786788 h 5950684"/>
              <a:gd name="connsiteX1492" fmla="*/ 4853807 w 6100546"/>
              <a:gd name="connsiteY1492" fmla="*/ 4782183 h 5950684"/>
              <a:gd name="connsiteX1493" fmla="*/ 4858413 w 6100546"/>
              <a:gd name="connsiteY1493" fmla="*/ 4772971 h 5950684"/>
              <a:gd name="connsiteX1494" fmla="*/ 4849394 w 6100546"/>
              <a:gd name="connsiteY1494" fmla="*/ 4772971 h 5950684"/>
              <a:gd name="connsiteX1495" fmla="*/ 4858988 w 6100546"/>
              <a:gd name="connsiteY1495" fmla="*/ 4763760 h 5950684"/>
              <a:gd name="connsiteX1496" fmla="*/ 4863004 w 6100546"/>
              <a:gd name="connsiteY1496" fmla="*/ 4749991 h 5950684"/>
              <a:gd name="connsiteX1497" fmla="*/ 4863102 w 6100546"/>
              <a:gd name="connsiteY1497" fmla="*/ 4749899 h 5950684"/>
              <a:gd name="connsiteX1498" fmla="*/ 4879139 w 6100546"/>
              <a:gd name="connsiteY1498" fmla="*/ 4741307 h 5950684"/>
              <a:gd name="connsiteX1499" fmla="*/ 4895259 w 6100546"/>
              <a:gd name="connsiteY1499" fmla="*/ 4722309 h 5950684"/>
              <a:gd name="connsiteX1500" fmla="*/ 4899864 w 6100546"/>
              <a:gd name="connsiteY1500" fmla="*/ 4722309 h 5950684"/>
              <a:gd name="connsiteX1501" fmla="*/ 4899865 w 6100546"/>
              <a:gd name="connsiteY1501" fmla="*/ 4717703 h 5950684"/>
              <a:gd name="connsiteX1502" fmla="*/ 4899864 w 6100546"/>
              <a:gd name="connsiteY1502" fmla="*/ 4713097 h 5950684"/>
              <a:gd name="connsiteX1503" fmla="*/ 4913681 w 6100546"/>
              <a:gd name="connsiteY1503" fmla="*/ 4708491 h 5950684"/>
              <a:gd name="connsiteX1504" fmla="*/ 4909075 w 6100546"/>
              <a:gd name="connsiteY1504" fmla="*/ 4713097 h 5950684"/>
              <a:gd name="connsiteX1505" fmla="*/ 4904470 w 6100546"/>
              <a:gd name="connsiteY1505" fmla="*/ 4722309 h 5950684"/>
              <a:gd name="connsiteX1506" fmla="*/ 4913682 w 6100546"/>
              <a:gd name="connsiteY1506" fmla="*/ 4717703 h 5950684"/>
              <a:gd name="connsiteX1507" fmla="*/ 4918287 w 6100546"/>
              <a:gd name="connsiteY1507" fmla="*/ 4717703 h 5950684"/>
              <a:gd name="connsiteX1508" fmla="*/ 4899864 w 6100546"/>
              <a:gd name="connsiteY1508" fmla="*/ 4740731 h 5950684"/>
              <a:gd name="connsiteX1509" fmla="*/ 5042641 w 6100546"/>
              <a:gd name="connsiteY1509" fmla="*/ 4593349 h 5950684"/>
              <a:gd name="connsiteX1510" fmla="*/ 5056459 w 6100546"/>
              <a:gd name="connsiteY1510" fmla="*/ 4574925 h 5950684"/>
              <a:gd name="connsiteX1511" fmla="*/ 5061064 w 6100546"/>
              <a:gd name="connsiteY1511" fmla="*/ 4570321 h 5950684"/>
              <a:gd name="connsiteX1512" fmla="*/ 5176207 w 6100546"/>
              <a:gd name="connsiteY1512" fmla="*/ 4413727 h 5950684"/>
              <a:gd name="connsiteX1513" fmla="*/ 5185419 w 6100546"/>
              <a:gd name="connsiteY1513" fmla="*/ 4404516 h 5950684"/>
              <a:gd name="connsiteX1514" fmla="*/ 5176207 w 6100546"/>
              <a:gd name="connsiteY1514" fmla="*/ 4418332 h 5950684"/>
              <a:gd name="connsiteX1515" fmla="*/ 5176207 w 6100546"/>
              <a:gd name="connsiteY1515" fmla="*/ 4427544 h 5950684"/>
              <a:gd name="connsiteX1516" fmla="*/ 5166996 w 6100546"/>
              <a:gd name="connsiteY1516" fmla="*/ 4445967 h 5950684"/>
              <a:gd name="connsiteX1517" fmla="*/ 5162390 w 6100546"/>
              <a:gd name="connsiteY1517" fmla="*/ 4450573 h 5950684"/>
              <a:gd name="connsiteX1518" fmla="*/ 5162390 w 6100546"/>
              <a:gd name="connsiteY1518" fmla="*/ 4455178 h 5950684"/>
              <a:gd name="connsiteX1519" fmla="*/ 5143967 w 6100546"/>
              <a:gd name="connsiteY1519" fmla="*/ 4496629 h 5950684"/>
              <a:gd name="connsiteX1520" fmla="*/ 5148573 w 6100546"/>
              <a:gd name="connsiteY1520" fmla="*/ 4487417 h 5950684"/>
              <a:gd name="connsiteX1521" fmla="*/ 5148573 w 6100546"/>
              <a:gd name="connsiteY1521" fmla="*/ 4496630 h 5950684"/>
              <a:gd name="connsiteX1522" fmla="*/ 5157784 w 6100546"/>
              <a:gd name="connsiteY1522" fmla="*/ 4492024 h 5950684"/>
              <a:gd name="connsiteX1523" fmla="*/ 5157785 w 6100546"/>
              <a:gd name="connsiteY1523" fmla="*/ 4496630 h 5950684"/>
              <a:gd name="connsiteX1524" fmla="*/ 5153179 w 6100546"/>
              <a:gd name="connsiteY1524" fmla="*/ 4501235 h 5950684"/>
              <a:gd name="connsiteX1525" fmla="*/ 5153180 w 6100546"/>
              <a:gd name="connsiteY1525" fmla="*/ 4505840 h 5950684"/>
              <a:gd name="connsiteX1526" fmla="*/ 5139362 w 6100546"/>
              <a:gd name="connsiteY1526" fmla="*/ 4533474 h 5950684"/>
              <a:gd name="connsiteX1527" fmla="*/ 5139362 w 6100546"/>
              <a:gd name="connsiteY1527" fmla="*/ 4538081 h 5950684"/>
              <a:gd name="connsiteX1528" fmla="*/ 5143968 w 6100546"/>
              <a:gd name="connsiteY1528" fmla="*/ 4533475 h 5950684"/>
              <a:gd name="connsiteX1529" fmla="*/ 5148573 w 6100546"/>
              <a:gd name="connsiteY1529" fmla="*/ 4533475 h 5950684"/>
              <a:gd name="connsiteX1530" fmla="*/ 5102516 w 6100546"/>
              <a:gd name="connsiteY1530" fmla="*/ 4616378 h 5950684"/>
              <a:gd name="connsiteX1531" fmla="*/ 5051853 w 6100546"/>
              <a:gd name="connsiteY1531" fmla="*/ 4694674 h 5950684"/>
              <a:gd name="connsiteX1532" fmla="*/ 5051853 w 6100546"/>
              <a:gd name="connsiteY1532" fmla="*/ 4699279 h 5950684"/>
              <a:gd name="connsiteX1533" fmla="*/ 5047247 w 6100546"/>
              <a:gd name="connsiteY1533" fmla="*/ 4699280 h 5950684"/>
              <a:gd name="connsiteX1534" fmla="*/ 5047247 w 6100546"/>
              <a:gd name="connsiteY1534" fmla="*/ 4703886 h 5950684"/>
              <a:gd name="connsiteX1535" fmla="*/ 5042641 w 6100546"/>
              <a:gd name="connsiteY1535" fmla="*/ 4708492 h 5950684"/>
              <a:gd name="connsiteX1536" fmla="*/ 5033430 w 6100546"/>
              <a:gd name="connsiteY1536" fmla="*/ 4722308 h 5950684"/>
              <a:gd name="connsiteX1537" fmla="*/ 5033431 w 6100546"/>
              <a:gd name="connsiteY1537" fmla="*/ 4731520 h 5950684"/>
              <a:gd name="connsiteX1538" fmla="*/ 5042641 w 6100546"/>
              <a:gd name="connsiteY1538" fmla="*/ 4713097 h 5950684"/>
              <a:gd name="connsiteX1539" fmla="*/ 5047248 w 6100546"/>
              <a:gd name="connsiteY1539" fmla="*/ 4713097 h 5950684"/>
              <a:gd name="connsiteX1540" fmla="*/ 5047247 w 6100546"/>
              <a:gd name="connsiteY1540" fmla="*/ 4717703 h 5950684"/>
              <a:gd name="connsiteX1541" fmla="*/ 5051853 w 6100546"/>
              <a:gd name="connsiteY1541" fmla="*/ 4713096 h 5950684"/>
              <a:gd name="connsiteX1542" fmla="*/ 5051853 w 6100546"/>
              <a:gd name="connsiteY1542" fmla="*/ 4708492 h 5950684"/>
              <a:gd name="connsiteX1543" fmla="*/ 5056459 w 6100546"/>
              <a:gd name="connsiteY1543" fmla="*/ 4703885 h 5950684"/>
              <a:gd name="connsiteX1544" fmla="*/ 5065670 w 6100546"/>
              <a:gd name="connsiteY1544" fmla="*/ 4690069 h 5950684"/>
              <a:gd name="connsiteX1545" fmla="*/ 5065670 w 6100546"/>
              <a:gd name="connsiteY1545" fmla="*/ 4680857 h 5950684"/>
              <a:gd name="connsiteX1546" fmla="*/ 5074881 w 6100546"/>
              <a:gd name="connsiteY1546" fmla="*/ 4680857 h 5950684"/>
              <a:gd name="connsiteX1547" fmla="*/ 5088699 w 6100546"/>
              <a:gd name="connsiteY1547" fmla="*/ 4648618 h 5950684"/>
              <a:gd name="connsiteX1548" fmla="*/ 5125545 w 6100546"/>
              <a:gd name="connsiteY1548" fmla="*/ 4593349 h 5950684"/>
              <a:gd name="connsiteX1549" fmla="*/ 5120939 w 6100546"/>
              <a:gd name="connsiteY1549" fmla="*/ 4593349 h 5950684"/>
              <a:gd name="connsiteX1550" fmla="*/ 5130150 w 6100546"/>
              <a:gd name="connsiteY1550" fmla="*/ 4584138 h 5950684"/>
              <a:gd name="connsiteX1551" fmla="*/ 5130150 w 6100546"/>
              <a:gd name="connsiteY1551" fmla="*/ 4574926 h 5950684"/>
              <a:gd name="connsiteX1552" fmla="*/ 5134756 w 6100546"/>
              <a:gd name="connsiteY1552" fmla="*/ 4574926 h 5950684"/>
              <a:gd name="connsiteX1553" fmla="*/ 5143967 w 6100546"/>
              <a:gd name="connsiteY1553" fmla="*/ 4565715 h 5950684"/>
              <a:gd name="connsiteX1554" fmla="*/ 5176207 w 6100546"/>
              <a:gd name="connsiteY1554" fmla="*/ 4501235 h 5950684"/>
              <a:gd name="connsiteX1555" fmla="*/ 5166996 w 6100546"/>
              <a:gd name="connsiteY1555" fmla="*/ 4501234 h 5950684"/>
              <a:gd name="connsiteX1556" fmla="*/ 5222265 w 6100546"/>
              <a:gd name="connsiteY1556" fmla="*/ 4399910 h 5950684"/>
              <a:gd name="connsiteX1557" fmla="*/ 5263716 w 6100546"/>
              <a:gd name="connsiteY1557" fmla="*/ 4317007 h 5950684"/>
              <a:gd name="connsiteX1558" fmla="*/ 5268323 w 6100546"/>
              <a:gd name="connsiteY1558" fmla="*/ 4317008 h 5950684"/>
              <a:gd name="connsiteX1559" fmla="*/ 5295956 w 6100546"/>
              <a:gd name="connsiteY1559" fmla="*/ 4261739 h 5950684"/>
              <a:gd name="connsiteX1560" fmla="*/ 5295956 w 6100546"/>
              <a:gd name="connsiteY1560" fmla="*/ 4275555 h 5950684"/>
              <a:gd name="connsiteX1561" fmla="*/ 5291350 w 6100546"/>
              <a:gd name="connsiteY1561" fmla="*/ 4257134 h 5950684"/>
              <a:gd name="connsiteX1562" fmla="*/ 5328196 w 6100546"/>
              <a:gd name="connsiteY1562" fmla="*/ 4197259 h 5950684"/>
              <a:gd name="connsiteX1563" fmla="*/ 5332802 w 6100546"/>
              <a:gd name="connsiteY1563" fmla="*/ 4192654 h 5950684"/>
              <a:gd name="connsiteX1564" fmla="*/ 5332802 w 6100546"/>
              <a:gd name="connsiteY1564" fmla="*/ 4188048 h 5950684"/>
              <a:gd name="connsiteX1565" fmla="*/ 5328197 w 6100546"/>
              <a:gd name="connsiteY1565" fmla="*/ 4188048 h 5950684"/>
              <a:gd name="connsiteX1566" fmla="*/ 5332802 w 6100546"/>
              <a:gd name="connsiteY1566" fmla="*/ 4178837 h 5950684"/>
              <a:gd name="connsiteX1567" fmla="*/ 5332803 w 6100546"/>
              <a:gd name="connsiteY1567" fmla="*/ 4183442 h 5950684"/>
              <a:gd name="connsiteX1568" fmla="*/ 5337408 w 6100546"/>
              <a:gd name="connsiteY1568" fmla="*/ 4183442 h 5950684"/>
              <a:gd name="connsiteX1569" fmla="*/ 5337408 w 6100546"/>
              <a:gd name="connsiteY1569" fmla="*/ 4174231 h 5950684"/>
              <a:gd name="connsiteX1570" fmla="*/ 5342014 w 6100546"/>
              <a:gd name="connsiteY1570" fmla="*/ 4169624 h 5950684"/>
              <a:gd name="connsiteX1571" fmla="*/ 5342014 w 6100546"/>
              <a:gd name="connsiteY1571" fmla="*/ 4155808 h 5950684"/>
              <a:gd name="connsiteX1572" fmla="*/ 5346620 w 6100546"/>
              <a:gd name="connsiteY1572" fmla="*/ 4146597 h 5950684"/>
              <a:gd name="connsiteX1573" fmla="*/ 5342014 w 6100546"/>
              <a:gd name="connsiteY1573" fmla="*/ 4151203 h 5950684"/>
              <a:gd name="connsiteX1574" fmla="*/ 5337408 w 6100546"/>
              <a:gd name="connsiteY1574" fmla="*/ 4155807 h 5950684"/>
              <a:gd name="connsiteX1575" fmla="*/ 5337408 w 6100546"/>
              <a:gd name="connsiteY1575" fmla="*/ 4146597 h 5950684"/>
              <a:gd name="connsiteX1576" fmla="*/ 5351225 w 6100546"/>
              <a:gd name="connsiteY1576" fmla="*/ 4118963 h 5950684"/>
              <a:gd name="connsiteX1577" fmla="*/ 5374253 w 6100546"/>
              <a:gd name="connsiteY1577" fmla="*/ 4068300 h 5950684"/>
              <a:gd name="connsiteX1578" fmla="*/ 5378859 w 6100546"/>
              <a:gd name="connsiteY1578" fmla="*/ 4063694 h 5950684"/>
              <a:gd name="connsiteX1579" fmla="*/ 5378859 w 6100546"/>
              <a:gd name="connsiteY1579" fmla="*/ 4059089 h 5950684"/>
              <a:gd name="connsiteX1580" fmla="*/ 5388071 w 6100546"/>
              <a:gd name="connsiteY1580" fmla="*/ 4036060 h 5950684"/>
              <a:gd name="connsiteX1581" fmla="*/ 5392676 w 6100546"/>
              <a:gd name="connsiteY1581" fmla="*/ 4017638 h 5950684"/>
              <a:gd name="connsiteX1582" fmla="*/ 5411099 w 6100546"/>
              <a:gd name="connsiteY1582" fmla="*/ 3985398 h 5950684"/>
              <a:gd name="connsiteX1583" fmla="*/ 5415706 w 6100546"/>
              <a:gd name="connsiteY1583" fmla="*/ 3985398 h 5950684"/>
              <a:gd name="connsiteX1584" fmla="*/ 5415705 w 6100546"/>
              <a:gd name="connsiteY1584" fmla="*/ 3976186 h 5950684"/>
              <a:gd name="connsiteX1585" fmla="*/ 5415705 w 6100546"/>
              <a:gd name="connsiteY1585" fmla="*/ 3971581 h 5950684"/>
              <a:gd name="connsiteX1586" fmla="*/ 5411100 w 6100546"/>
              <a:gd name="connsiteY1586" fmla="*/ 3976186 h 5950684"/>
              <a:gd name="connsiteX1587" fmla="*/ 5424916 w 6100546"/>
              <a:gd name="connsiteY1587" fmla="*/ 3943946 h 5950684"/>
              <a:gd name="connsiteX1588" fmla="*/ 5429522 w 6100546"/>
              <a:gd name="connsiteY1588" fmla="*/ 3939340 h 5950684"/>
              <a:gd name="connsiteX1589" fmla="*/ 5429523 w 6100546"/>
              <a:gd name="connsiteY1589" fmla="*/ 3934735 h 5950684"/>
              <a:gd name="connsiteX1590" fmla="*/ 5438734 w 6100546"/>
              <a:gd name="connsiteY1590" fmla="*/ 3902495 h 5950684"/>
              <a:gd name="connsiteX1591" fmla="*/ 5438734 w 6100546"/>
              <a:gd name="connsiteY1591" fmla="*/ 3907101 h 5950684"/>
              <a:gd name="connsiteX1592" fmla="*/ 5438735 w 6100546"/>
              <a:gd name="connsiteY1592" fmla="*/ 3920918 h 5950684"/>
              <a:gd name="connsiteX1593" fmla="*/ 5443339 w 6100546"/>
              <a:gd name="connsiteY1593" fmla="*/ 3911706 h 5950684"/>
              <a:gd name="connsiteX1594" fmla="*/ 5447945 w 6100546"/>
              <a:gd name="connsiteY1594" fmla="*/ 3907101 h 5950684"/>
              <a:gd name="connsiteX1595" fmla="*/ 5443339 w 6100546"/>
              <a:gd name="connsiteY1595" fmla="*/ 3925524 h 5950684"/>
              <a:gd name="connsiteX1596" fmla="*/ 5452551 w 6100546"/>
              <a:gd name="connsiteY1596" fmla="*/ 3930129 h 5950684"/>
              <a:gd name="connsiteX1597" fmla="*/ 5466368 w 6100546"/>
              <a:gd name="connsiteY1597" fmla="*/ 3897889 h 5950684"/>
              <a:gd name="connsiteX1598" fmla="*/ 5470974 w 6100546"/>
              <a:gd name="connsiteY1598" fmla="*/ 3893283 h 5950684"/>
              <a:gd name="connsiteX1599" fmla="*/ 5470974 w 6100546"/>
              <a:gd name="connsiteY1599" fmla="*/ 3888678 h 5950684"/>
              <a:gd name="connsiteX1600" fmla="*/ 5470974 w 6100546"/>
              <a:gd name="connsiteY1600" fmla="*/ 3884072 h 5950684"/>
              <a:gd name="connsiteX1601" fmla="*/ 5466368 w 6100546"/>
              <a:gd name="connsiteY1601" fmla="*/ 3888677 h 5950684"/>
              <a:gd name="connsiteX1602" fmla="*/ 5466368 w 6100546"/>
              <a:gd name="connsiteY1602" fmla="*/ 3874861 h 5950684"/>
              <a:gd name="connsiteX1603" fmla="*/ 5461762 w 6100546"/>
              <a:gd name="connsiteY1603" fmla="*/ 3870254 h 5950684"/>
              <a:gd name="connsiteX1604" fmla="*/ 5452551 w 6100546"/>
              <a:gd name="connsiteY1604" fmla="*/ 3893283 h 5950684"/>
              <a:gd name="connsiteX1605" fmla="*/ 5452551 w 6100546"/>
              <a:gd name="connsiteY1605" fmla="*/ 3888678 h 5950684"/>
              <a:gd name="connsiteX1606" fmla="*/ 5447945 w 6100546"/>
              <a:gd name="connsiteY1606" fmla="*/ 3879467 h 5950684"/>
              <a:gd name="connsiteX1607" fmla="*/ 5443975 w 6100546"/>
              <a:gd name="connsiteY1607" fmla="*/ 3887407 h 5950684"/>
              <a:gd name="connsiteX1608" fmla="*/ 5444491 w 6100546"/>
              <a:gd name="connsiteY1608" fmla="*/ 3878891 h 5950684"/>
              <a:gd name="connsiteX1609" fmla="*/ 5452551 w 6100546"/>
              <a:gd name="connsiteY1609" fmla="*/ 3856438 h 5950684"/>
              <a:gd name="connsiteX1610" fmla="*/ 5438734 w 6100546"/>
              <a:gd name="connsiteY1610" fmla="*/ 3842620 h 5950684"/>
              <a:gd name="connsiteX1611" fmla="*/ 5443340 w 6100546"/>
              <a:gd name="connsiteY1611" fmla="*/ 3847226 h 5950684"/>
              <a:gd name="connsiteX1612" fmla="*/ 5447945 w 6100546"/>
              <a:gd name="connsiteY1612" fmla="*/ 3847227 h 5950684"/>
              <a:gd name="connsiteX1613" fmla="*/ 5452551 w 6100546"/>
              <a:gd name="connsiteY1613" fmla="*/ 3847227 h 5950684"/>
              <a:gd name="connsiteX1614" fmla="*/ 5452552 w 6100546"/>
              <a:gd name="connsiteY1614" fmla="*/ 3838015 h 5950684"/>
              <a:gd name="connsiteX1615" fmla="*/ 5452552 w 6100546"/>
              <a:gd name="connsiteY1615" fmla="*/ 3833410 h 5950684"/>
              <a:gd name="connsiteX1616" fmla="*/ 5461762 w 6100546"/>
              <a:gd name="connsiteY1616" fmla="*/ 3824198 h 5950684"/>
              <a:gd name="connsiteX1617" fmla="*/ 5461762 w 6100546"/>
              <a:gd name="connsiteY1617" fmla="*/ 3833409 h 5950684"/>
              <a:gd name="connsiteX1618" fmla="*/ 5466369 w 6100546"/>
              <a:gd name="connsiteY1618" fmla="*/ 3833410 h 5950684"/>
              <a:gd name="connsiteX1619" fmla="*/ 5470974 w 6100546"/>
              <a:gd name="connsiteY1619" fmla="*/ 3824198 h 5950684"/>
              <a:gd name="connsiteX1620" fmla="*/ 5470974 w 6100546"/>
              <a:gd name="connsiteY1620" fmla="*/ 3814986 h 5950684"/>
              <a:gd name="connsiteX1621" fmla="*/ 5461763 w 6100546"/>
              <a:gd name="connsiteY1621" fmla="*/ 3805776 h 5950684"/>
              <a:gd name="connsiteX1622" fmla="*/ 5457156 w 6100546"/>
              <a:gd name="connsiteY1622" fmla="*/ 3801170 h 5950684"/>
              <a:gd name="connsiteX1623" fmla="*/ 5452551 w 6100546"/>
              <a:gd name="connsiteY1623" fmla="*/ 3805776 h 5950684"/>
              <a:gd name="connsiteX1624" fmla="*/ 5457156 w 6100546"/>
              <a:gd name="connsiteY1624" fmla="*/ 3782747 h 5950684"/>
              <a:gd name="connsiteX1625" fmla="*/ 5457156 w 6100546"/>
              <a:gd name="connsiteY1625" fmla="*/ 3796564 h 5950684"/>
              <a:gd name="connsiteX1626" fmla="*/ 5466368 w 6100546"/>
              <a:gd name="connsiteY1626" fmla="*/ 3778141 h 5950684"/>
              <a:gd name="connsiteX1627" fmla="*/ 5470975 w 6100546"/>
              <a:gd name="connsiteY1627" fmla="*/ 3778140 h 5950684"/>
              <a:gd name="connsiteX1628" fmla="*/ 5470974 w 6100546"/>
              <a:gd name="connsiteY1628" fmla="*/ 3773536 h 5950684"/>
              <a:gd name="connsiteX1629" fmla="*/ 5470974 w 6100546"/>
              <a:gd name="connsiteY1629" fmla="*/ 3768930 h 5950684"/>
              <a:gd name="connsiteX1630" fmla="*/ 5466368 w 6100546"/>
              <a:gd name="connsiteY1630" fmla="*/ 3768930 h 5950684"/>
              <a:gd name="connsiteX1631" fmla="*/ 5475579 w 6100546"/>
              <a:gd name="connsiteY1631" fmla="*/ 3759719 h 5950684"/>
              <a:gd name="connsiteX1632" fmla="*/ 5475579 w 6100546"/>
              <a:gd name="connsiteY1632" fmla="*/ 3732085 h 5950684"/>
              <a:gd name="connsiteX1633" fmla="*/ 5475579 w 6100546"/>
              <a:gd name="connsiteY1633" fmla="*/ 3741295 h 5950684"/>
              <a:gd name="connsiteX1634" fmla="*/ 5484791 w 6100546"/>
              <a:gd name="connsiteY1634" fmla="*/ 3713662 h 5950684"/>
              <a:gd name="connsiteX1635" fmla="*/ 5489397 w 6100546"/>
              <a:gd name="connsiteY1635" fmla="*/ 3718267 h 5950684"/>
              <a:gd name="connsiteX1636" fmla="*/ 5489397 w 6100546"/>
              <a:gd name="connsiteY1636" fmla="*/ 3713661 h 5950684"/>
              <a:gd name="connsiteX1637" fmla="*/ 5494002 w 6100546"/>
              <a:gd name="connsiteY1637" fmla="*/ 3713662 h 5950684"/>
              <a:gd name="connsiteX1638" fmla="*/ 5498608 w 6100546"/>
              <a:gd name="connsiteY1638" fmla="*/ 3718266 h 5950684"/>
              <a:gd name="connsiteX1639" fmla="*/ 5489397 w 6100546"/>
              <a:gd name="connsiteY1639" fmla="*/ 3759719 h 5950684"/>
              <a:gd name="connsiteX1640" fmla="*/ 5484791 w 6100546"/>
              <a:gd name="connsiteY1640" fmla="*/ 3759719 h 5950684"/>
              <a:gd name="connsiteX1641" fmla="*/ 5480185 w 6100546"/>
              <a:gd name="connsiteY1641" fmla="*/ 3778141 h 5950684"/>
              <a:gd name="connsiteX1642" fmla="*/ 5489397 w 6100546"/>
              <a:gd name="connsiteY1642" fmla="*/ 3764323 h 5950684"/>
              <a:gd name="connsiteX1643" fmla="*/ 5484791 w 6100546"/>
              <a:gd name="connsiteY1643" fmla="*/ 3787352 h 5950684"/>
              <a:gd name="connsiteX1644" fmla="*/ 5480185 w 6100546"/>
              <a:gd name="connsiteY1644" fmla="*/ 3791959 h 5950684"/>
              <a:gd name="connsiteX1645" fmla="*/ 5480185 w 6100546"/>
              <a:gd name="connsiteY1645" fmla="*/ 3796563 h 5950684"/>
              <a:gd name="connsiteX1646" fmla="*/ 5484791 w 6100546"/>
              <a:gd name="connsiteY1646" fmla="*/ 3801169 h 5950684"/>
              <a:gd name="connsiteX1647" fmla="*/ 5489397 w 6100546"/>
              <a:gd name="connsiteY1647" fmla="*/ 3796564 h 5950684"/>
              <a:gd name="connsiteX1648" fmla="*/ 5494002 w 6100546"/>
              <a:gd name="connsiteY1648" fmla="*/ 3787353 h 5950684"/>
              <a:gd name="connsiteX1649" fmla="*/ 5494002 w 6100546"/>
              <a:gd name="connsiteY1649" fmla="*/ 3782747 h 5950684"/>
              <a:gd name="connsiteX1650" fmla="*/ 5489397 w 6100546"/>
              <a:gd name="connsiteY1650" fmla="*/ 3782747 h 5950684"/>
              <a:gd name="connsiteX1651" fmla="*/ 5503214 w 6100546"/>
              <a:gd name="connsiteY1651" fmla="*/ 3718267 h 5950684"/>
              <a:gd name="connsiteX1652" fmla="*/ 5507819 w 6100546"/>
              <a:gd name="connsiteY1652" fmla="*/ 3713661 h 5950684"/>
              <a:gd name="connsiteX1653" fmla="*/ 5507818 w 6100546"/>
              <a:gd name="connsiteY1653" fmla="*/ 3709056 h 5950684"/>
              <a:gd name="connsiteX1654" fmla="*/ 5507819 w 6100546"/>
              <a:gd name="connsiteY1654" fmla="*/ 3704450 h 5950684"/>
              <a:gd name="connsiteX1655" fmla="*/ 5517031 w 6100546"/>
              <a:gd name="connsiteY1655" fmla="*/ 3676816 h 5950684"/>
              <a:gd name="connsiteX1656" fmla="*/ 5512425 w 6100546"/>
              <a:gd name="connsiteY1656" fmla="*/ 3676815 h 5950684"/>
              <a:gd name="connsiteX1657" fmla="*/ 5517031 w 6100546"/>
              <a:gd name="connsiteY1657" fmla="*/ 3672211 h 5950684"/>
              <a:gd name="connsiteX1658" fmla="*/ 5521637 w 6100546"/>
              <a:gd name="connsiteY1658" fmla="*/ 3662998 h 5950684"/>
              <a:gd name="connsiteX1659" fmla="*/ 5517031 w 6100546"/>
              <a:gd name="connsiteY1659" fmla="*/ 3658392 h 5950684"/>
              <a:gd name="connsiteX1660" fmla="*/ 5530848 w 6100546"/>
              <a:gd name="connsiteY1660" fmla="*/ 3557068 h 5950684"/>
              <a:gd name="connsiteX1661" fmla="*/ 5535454 w 6100546"/>
              <a:gd name="connsiteY1661" fmla="*/ 3547857 h 5950684"/>
              <a:gd name="connsiteX1662" fmla="*/ 5535454 w 6100546"/>
              <a:gd name="connsiteY1662" fmla="*/ 3543250 h 5950684"/>
              <a:gd name="connsiteX1663" fmla="*/ 5530848 w 6100546"/>
              <a:gd name="connsiteY1663" fmla="*/ 3543251 h 5950684"/>
              <a:gd name="connsiteX1664" fmla="*/ 5540059 w 6100546"/>
              <a:gd name="connsiteY1664" fmla="*/ 3515617 h 5950684"/>
              <a:gd name="connsiteX1665" fmla="*/ 5540059 w 6100546"/>
              <a:gd name="connsiteY1665" fmla="*/ 3511011 h 5950684"/>
              <a:gd name="connsiteX1666" fmla="*/ 5540059 w 6100546"/>
              <a:gd name="connsiteY1666" fmla="*/ 3501800 h 5950684"/>
              <a:gd name="connsiteX1667" fmla="*/ 5540059 w 6100546"/>
              <a:gd name="connsiteY1667" fmla="*/ 3497194 h 5950684"/>
              <a:gd name="connsiteX1668" fmla="*/ 5544665 w 6100546"/>
              <a:gd name="connsiteY1668" fmla="*/ 3492589 h 5950684"/>
              <a:gd name="connsiteX1669" fmla="*/ 5544664 w 6100546"/>
              <a:gd name="connsiteY1669" fmla="*/ 3487983 h 5950684"/>
              <a:gd name="connsiteX1670" fmla="*/ 5544665 w 6100546"/>
              <a:gd name="connsiteY1670" fmla="*/ 3460349 h 5950684"/>
              <a:gd name="connsiteX1671" fmla="*/ 5544665 w 6100546"/>
              <a:gd name="connsiteY1671" fmla="*/ 3455742 h 5950684"/>
              <a:gd name="connsiteX1672" fmla="*/ 5544665 w 6100546"/>
              <a:gd name="connsiteY1672" fmla="*/ 3446532 h 5950684"/>
              <a:gd name="connsiteX1673" fmla="*/ 5544665 w 6100546"/>
              <a:gd name="connsiteY1673" fmla="*/ 3441926 h 5950684"/>
              <a:gd name="connsiteX1674" fmla="*/ 5544665 w 6100546"/>
              <a:gd name="connsiteY1674" fmla="*/ 3409686 h 5950684"/>
              <a:gd name="connsiteX1675" fmla="*/ 5553876 w 6100546"/>
              <a:gd name="connsiteY1675" fmla="*/ 3391263 h 5950684"/>
              <a:gd name="connsiteX1676" fmla="*/ 5558482 w 6100546"/>
              <a:gd name="connsiteY1676" fmla="*/ 3386658 h 5950684"/>
              <a:gd name="connsiteX1677" fmla="*/ 5558482 w 6100546"/>
              <a:gd name="connsiteY1677" fmla="*/ 3382052 h 5950684"/>
              <a:gd name="connsiteX1678" fmla="*/ 5553877 w 6100546"/>
              <a:gd name="connsiteY1678" fmla="*/ 3382052 h 5950684"/>
              <a:gd name="connsiteX1679" fmla="*/ 5553877 w 6100546"/>
              <a:gd name="connsiteY1679" fmla="*/ 3386657 h 5950684"/>
              <a:gd name="connsiteX1680" fmla="*/ 5549271 w 6100546"/>
              <a:gd name="connsiteY1680" fmla="*/ 3368235 h 5950684"/>
              <a:gd name="connsiteX1681" fmla="*/ 5558482 w 6100546"/>
              <a:gd name="connsiteY1681" fmla="*/ 3368235 h 5950684"/>
              <a:gd name="connsiteX1682" fmla="*/ 5562808 w 6100546"/>
              <a:gd name="connsiteY1682" fmla="*/ 3372560 h 5950684"/>
              <a:gd name="connsiteX1683" fmla="*/ 5561145 w 6100546"/>
              <a:gd name="connsiteY1683" fmla="*/ 3398244 h 5950684"/>
              <a:gd name="connsiteX1684" fmla="*/ 5563087 w 6100546"/>
              <a:gd name="connsiteY1684" fmla="*/ 3464954 h 5950684"/>
              <a:gd name="connsiteX1685" fmla="*/ 5558481 w 6100546"/>
              <a:gd name="connsiteY1685" fmla="*/ 3469560 h 5950684"/>
              <a:gd name="connsiteX1686" fmla="*/ 5558482 w 6100546"/>
              <a:gd name="connsiteY1686" fmla="*/ 3474166 h 5950684"/>
              <a:gd name="connsiteX1687" fmla="*/ 5563088 w 6100546"/>
              <a:gd name="connsiteY1687" fmla="*/ 3497193 h 5950684"/>
              <a:gd name="connsiteX1688" fmla="*/ 5563088 w 6100546"/>
              <a:gd name="connsiteY1688" fmla="*/ 3478771 h 5950684"/>
              <a:gd name="connsiteX1689" fmla="*/ 5567694 w 6100546"/>
              <a:gd name="connsiteY1689" fmla="*/ 3483377 h 5950684"/>
              <a:gd name="connsiteX1690" fmla="*/ 5567694 w 6100546"/>
              <a:gd name="connsiteY1690" fmla="*/ 3478771 h 5950684"/>
              <a:gd name="connsiteX1691" fmla="*/ 5567694 w 6100546"/>
              <a:gd name="connsiteY1691" fmla="*/ 3474165 h 5950684"/>
              <a:gd name="connsiteX1692" fmla="*/ 5567694 w 6100546"/>
              <a:gd name="connsiteY1692" fmla="*/ 3469560 h 5950684"/>
              <a:gd name="connsiteX1693" fmla="*/ 5590722 w 6100546"/>
              <a:gd name="connsiteY1693" fmla="*/ 3423503 h 5950684"/>
              <a:gd name="connsiteX1694" fmla="*/ 5632173 w 6100546"/>
              <a:gd name="connsiteY1694" fmla="*/ 3322178 h 5950684"/>
              <a:gd name="connsiteX1695" fmla="*/ 5636779 w 6100546"/>
              <a:gd name="connsiteY1695" fmla="*/ 3317572 h 5950684"/>
              <a:gd name="connsiteX1696" fmla="*/ 5641385 w 6100546"/>
              <a:gd name="connsiteY1696" fmla="*/ 3312967 h 5950684"/>
              <a:gd name="connsiteX1697" fmla="*/ 5645991 w 6100546"/>
              <a:gd name="connsiteY1697" fmla="*/ 3317572 h 5950684"/>
              <a:gd name="connsiteX1698" fmla="*/ 5645991 w 6100546"/>
              <a:gd name="connsiteY1698" fmla="*/ 3303754 h 5950684"/>
              <a:gd name="connsiteX1699" fmla="*/ 5664414 w 6100546"/>
              <a:gd name="connsiteY1699" fmla="*/ 3216247 h 5950684"/>
              <a:gd name="connsiteX1700" fmla="*/ 5669019 w 6100546"/>
              <a:gd name="connsiteY1700" fmla="*/ 3225458 h 5950684"/>
              <a:gd name="connsiteX1701" fmla="*/ 5696654 w 6100546"/>
              <a:gd name="connsiteY1701" fmla="*/ 3170190 h 5950684"/>
              <a:gd name="connsiteX1702" fmla="*/ 5696654 w 6100546"/>
              <a:gd name="connsiteY1702" fmla="*/ 3179401 h 5950684"/>
              <a:gd name="connsiteX1703" fmla="*/ 5696654 w 6100546"/>
              <a:gd name="connsiteY1703" fmla="*/ 3184006 h 5950684"/>
              <a:gd name="connsiteX1704" fmla="*/ 5701258 w 6100546"/>
              <a:gd name="connsiteY1704" fmla="*/ 3179401 h 5950684"/>
              <a:gd name="connsiteX1705" fmla="*/ 5701259 w 6100546"/>
              <a:gd name="connsiteY1705" fmla="*/ 3170190 h 5950684"/>
              <a:gd name="connsiteX1706" fmla="*/ 5701259 w 6100546"/>
              <a:gd name="connsiteY1706" fmla="*/ 3243881 h 5950684"/>
              <a:gd name="connsiteX1707" fmla="*/ 5747317 w 6100546"/>
              <a:gd name="connsiteY1707" fmla="*/ 3124133 h 5950684"/>
              <a:gd name="connsiteX1708" fmla="*/ 5765738 w 6100546"/>
              <a:gd name="connsiteY1708" fmla="*/ 3110316 h 5950684"/>
              <a:gd name="connsiteX1709" fmla="*/ 5770345 w 6100546"/>
              <a:gd name="connsiteY1709" fmla="*/ 3124132 h 5950684"/>
              <a:gd name="connsiteX1710" fmla="*/ 5765739 w 6100546"/>
              <a:gd name="connsiteY1710" fmla="*/ 3234670 h 5950684"/>
              <a:gd name="connsiteX1711" fmla="*/ 5784163 w 6100546"/>
              <a:gd name="connsiteY1711" fmla="*/ 3253092 h 5950684"/>
              <a:gd name="connsiteX1712" fmla="*/ 5779557 w 6100546"/>
              <a:gd name="connsiteY1712" fmla="*/ 3312966 h 5950684"/>
              <a:gd name="connsiteX1713" fmla="*/ 5788769 w 6100546"/>
              <a:gd name="connsiteY1713" fmla="*/ 3285331 h 5950684"/>
              <a:gd name="connsiteX1714" fmla="*/ 5788769 w 6100546"/>
              <a:gd name="connsiteY1714" fmla="*/ 3322177 h 5950684"/>
              <a:gd name="connsiteX1715" fmla="*/ 5802585 w 6100546"/>
              <a:gd name="connsiteY1715" fmla="*/ 3303754 h 5950684"/>
              <a:gd name="connsiteX1716" fmla="*/ 5770345 w 6100546"/>
              <a:gd name="connsiteY1716" fmla="*/ 3538644 h 5950684"/>
              <a:gd name="connsiteX1717" fmla="*/ 5765739 w 6100546"/>
              <a:gd name="connsiteY1717" fmla="*/ 3561673 h 5950684"/>
              <a:gd name="connsiteX1718" fmla="*/ 4103074 w 6100546"/>
              <a:gd name="connsiteY1718" fmla="*/ 5597389 h 5950684"/>
              <a:gd name="connsiteX1719" fmla="*/ 4098468 w 6100546"/>
              <a:gd name="connsiteY1719" fmla="*/ 5597390 h 5950684"/>
              <a:gd name="connsiteX1720" fmla="*/ 4093862 w 6100546"/>
              <a:gd name="connsiteY1720" fmla="*/ 5597390 h 5950684"/>
              <a:gd name="connsiteX1721" fmla="*/ 4089256 w 6100546"/>
              <a:gd name="connsiteY1721" fmla="*/ 5592785 h 5950684"/>
              <a:gd name="connsiteX1722" fmla="*/ 4098468 w 6100546"/>
              <a:gd name="connsiteY1722" fmla="*/ 5588179 h 5950684"/>
              <a:gd name="connsiteX1723" fmla="*/ 4098468 w 6100546"/>
              <a:gd name="connsiteY1723" fmla="*/ 5578967 h 5950684"/>
              <a:gd name="connsiteX1724" fmla="*/ 4089257 w 6100546"/>
              <a:gd name="connsiteY1724" fmla="*/ 5583573 h 5950684"/>
              <a:gd name="connsiteX1725" fmla="*/ 4084652 w 6100546"/>
              <a:gd name="connsiteY1725" fmla="*/ 5588179 h 5950684"/>
              <a:gd name="connsiteX1726" fmla="*/ 4080045 w 6100546"/>
              <a:gd name="connsiteY1726" fmla="*/ 5588179 h 5950684"/>
              <a:gd name="connsiteX1727" fmla="*/ 4066228 w 6100546"/>
              <a:gd name="connsiteY1727" fmla="*/ 5583573 h 5950684"/>
              <a:gd name="connsiteX1728" fmla="*/ 4061622 w 6100546"/>
              <a:gd name="connsiteY1728" fmla="*/ 5597390 h 5950684"/>
              <a:gd name="connsiteX1729" fmla="*/ 4070834 w 6100546"/>
              <a:gd name="connsiteY1729" fmla="*/ 5592785 h 5950684"/>
              <a:gd name="connsiteX1730" fmla="*/ 4066228 w 6100546"/>
              <a:gd name="connsiteY1730" fmla="*/ 5601996 h 5950684"/>
              <a:gd name="connsiteX1731" fmla="*/ 4080045 w 6100546"/>
              <a:gd name="connsiteY1731" fmla="*/ 5597390 h 5950684"/>
              <a:gd name="connsiteX1732" fmla="*/ 4084651 w 6100546"/>
              <a:gd name="connsiteY1732" fmla="*/ 5592785 h 5950684"/>
              <a:gd name="connsiteX1733" fmla="*/ 4080045 w 6100546"/>
              <a:gd name="connsiteY1733" fmla="*/ 5601996 h 5950684"/>
              <a:gd name="connsiteX1734" fmla="*/ 4075440 w 6100546"/>
              <a:gd name="connsiteY1734" fmla="*/ 5601996 h 5950684"/>
              <a:gd name="connsiteX1735" fmla="*/ 4070834 w 6100546"/>
              <a:gd name="connsiteY1735" fmla="*/ 5606602 h 5950684"/>
              <a:gd name="connsiteX1736" fmla="*/ 4070834 w 6100546"/>
              <a:gd name="connsiteY1736" fmla="*/ 5611207 h 5950684"/>
              <a:gd name="connsiteX1737" fmla="*/ 3854364 w 6100546"/>
              <a:gd name="connsiteY1737" fmla="*/ 5684898 h 5950684"/>
              <a:gd name="connsiteX1738" fmla="*/ 3840547 w 6100546"/>
              <a:gd name="connsiteY1738" fmla="*/ 5680293 h 5950684"/>
              <a:gd name="connsiteX1739" fmla="*/ 3840547 w 6100546"/>
              <a:gd name="connsiteY1739" fmla="*/ 5684898 h 5950684"/>
              <a:gd name="connsiteX1740" fmla="*/ 3094420 w 6100546"/>
              <a:gd name="connsiteY1740" fmla="*/ 5790829 h 5950684"/>
              <a:gd name="connsiteX1741" fmla="*/ 1468600 w 6100546"/>
              <a:gd name="connsiteY1741" fmla="*/ 5251963 h 5950684"/>
              <a:gd name="connsiteX1742" fmla="*/ 1482417 w 6100546"/>
              <a:gd name="connsiteY1742" fmla="*/ 5251963 h 5950684"/>
              <a:gd name="connsiteX1743" fmla="*/ 1413332 w 6100546"/>
              <a:gd name="connsiteY1743" fmla="*/ 5205906 h 5950684"/>
              <a:gd name="connsiteX1744" fmla="*/ 1413332 w 6100546"/>
              <a:gd name="connsiteY1744" fmla="*/ 5210512 h 5950684"/>
              <a:gd name="connsiteX1745" fmla="*/ 1335034 w 6100546"/>
              <a:gd name="connsiteY1745" fmla="*/ 5146032 h 5950684"/>
              <a:gd name="connsiteX1746" fmla="*/ 1288976 w 6100546"/>
              <a:gd name="connsiteY1746" fmla="*/ 5104580 h 5950684"/>
              <a:gd name="connsiteX1747" fmla="*/ 1284370 w 6100546"/>
              <a:gd name="connsiteY1747" fmla="*/ 5099975 h 5950684"/>
              <a:gd name="connsiteX1748" fmla="*/ 1279765 w 6100546"/>
              <a:gd name="connsiteY1748" fmla="*/ 5099975 h 5950684"/>
              <a:gd name="connsiteX1749" fmla="*/ 1275160 w 6100546"/>
              <a:gd name="connsiteY1749" fmla="*/ 5090764 h 5950684"/>
              <a:gd name="connsiteX1750" fmla="*/ 1252130 w 6100546"/>
              <a:gd name="connsiteY1750" fmla="*/ 5072341 h 5950684"/>
              <a:gd name="connsiteX1751" fmla="*/ 1187651 w 6100546"/>
              <a:gd name="connsiteY1751" fmla="*/ 5012467 h 5950684"/>
              <a:gd name="connsiteX1752" fmla="*/ 1160017 w 6100546"/>
              <a:gd name="connsiteY1752" fmla="*/ 4984833 h 5950684"/>
              <a:gd name="connsiteX1753" fmla="*/ 1104748 w 6100546"/>
              <a:gd name="connsiteY1753" fmla="*/ 4924959 h 5950684"/>
              <a:gd name="connsiteX1754" fmla="*/ 1109354 w 6100546"/>
              <a:gd name="connsiteY1754" fmla="*/ 4924959 h 5950684"/>
              <a:gd name="connsiteX1755" fmla="*/ 1095536 w 6100546"/>
              <a:gd name="connsiteY1755" fmla="*/ 4915748 h 5950684"/>
              <a:gd name="connsiteX1756" fmla="*/ 877915 w 6100546"/>
              <a:gd name="connsiteY1756" fmla="*/ 4646315 h 5950684"/>
              <a:gd name="connsiteX1757" fmla="*/ 863038 w 6100546"/>
              <a:gd name="connsiteY1757" fmla="*/ 4623799 h 5950684"/>
              <a:gd name="connsiteX1758" fmla="*/ 798472 w 6100546"/>
              <a:gd name="connsiteY1758" fmla="*/ 4539243 h 5950684"/>
              <a:gd name="connsiteX1759" fmla="*/ 805376 w 6100546"/>
              <a:gd name="connsiteY1759" fmla="*/ 4551898 h 5950684"/>
              <a:gd name="connsiteX1760" fmla="*/ 787589 w 6100546"/>
              <a:gd name="connsiteY1760" fmla="*/ 4524991 h 5950684"/>
              <a:gd name="connsiteX1761" fmla="*/ 780720 w 6100546"/>
              <a:gd name="connsiteY1761" fmla="*/ 4515996 h 5950684"/>
              <a:gd name="connsiteX1762" fmla="*/ 763924 w 6100546"/>
              <a:gd name="connsiteY1762" fmla="*/ 4501235 h 5950684"/>
              <a:gd name="connsiteX1763" fmla="*/ 800770 w 6100546"/>
              <a:gd name="connsiteY1763" fmla="*/ 4570321 h 5950684"/>
              <a:gd name="connsiteX1764" fmla="*/ 842221 w 6100546"/>
              <a:gd name="connsiteY1764" fmla="*/ 4611772 h 5950684"/>
              <a:gd name="connsiteX1765" fmla="*/ 809982 w 6100546"/>
              <a:gd name="connsiteY1765" fmla="*/ 4556504 h 5950684"/>
              <a:gd name="connsiteX1766" fmla="*/ 902096 w 6100546"/>
              <a:gd name="connsiteY1766" fmla="*/ 4699280 h 5950684"/>
              <a:gd name="connsiteX1767" fmla="*/ 957364 w 6100546"/>
              <a:gd name="connsiteY1767" fmla="*/ 4777577 h 5950684"/>
              <a:gd name="connsiteX1768" fmla="*/ 994210 w 6100546"/>
              <a:gd name="connsiteY1768" fmla="*/ 4832845 h 5950684"/>
              <a:gd name="connsiteX1769" fmla="*/ 1021844 w 6100546"/>
              <a:gd name="connsiteY1769" fmla="*/ 4855874 h 5950684"/>
              <a:gd name="connsiteX1770" fmla="*/ 3504329 w 6100546"/>
              <a:gd name="connsiteY1770" fmla="*/ 5818463 h 5950684"/>
              <a:gd name="connsiteX1771" fmla="*/ 4568253 w 6100546"/>
              <a:gd name="connsiteY1771" fmla="*/ 5431585 h 5950684"/>
              <a:gd name="connsiteX1772" fmla="*/ 5830220 w 6100546"/>
              <a:gd name="connsiteY1772" fmla="*/ 3372841 h 5950684"/>
              <a:gd name="connsiteX1773" fmla="*/ 5839431 w 6100546"/>
              <a:gd name="connsiteY1773" fmla="*/ 3197824 h 5950684"/>
              <a:gd name="connsiteX1774" fmla="*/ 5844037 w 6100546"/>
              <a:gd name="connsiteY1774" fmla="*/ 3193218 h 5950684"/>
              <a:gd name="connsiteX1775" fmla="*/ 5844037 w 6100546"/>
              <a:gd name="connsiteY1775" fmla="*/ 3179400 h 5950684"/>
              <a:gd name="connsiteX1776" fmla="*/ 5839431 w 6100546"/>
              <a:gd name="connsiteY1776" fmla="*/ 3174796 h 5950684"/>
              <a:gd name="connsiteX1777" fmla="*/ 5839431 w 6100546"/>
              <a:gd name="connsiteY1777" fmla="*/ 3045835 h 5950684"/>
              <a:gd name="connsiteX1778" fmla="*/ 5811797 w 6100546"/>
              <a:gd name="connsiteY1778" fmla="*/ 2746466 h 5950684"/>
              <a:gd name="connsiteX1779" fmla="*/ 5512425 w 6100546"/>
              <a:gd name="connsiteY1779" fmla="*/ 1834539 h 5950684"/>
              <a:gd name="connsiteX1780" fmla="*/ 5222265 w 6100546"/>
              <a:gd name="connsiteY1780" fmla="*/ 1383181 h 5950684"/>
              <a:gd name="connsiteX1781" fmla="*/ 5231476 w 6100546"/>
              <a:gd name="connsiteY1781" fmla="*/ 1387787 h 5950684"/>
              <a:gd name="connsiteX1782" fmla="*/ 5180813 w 6100546"/>
              <a:gd name="connsiteY1782" fmla="*/ 1323307 h 5950684"/>
              <a:gd name="connsiteX1783" fmla="*/ 5148573 w 6100546"/>
              <a:gd name="connsiteY1783" fmla="*/ 1291067 h 5950684"/>
              <a:gd name="connsiteX1784" fmla="*/ 5051854 w 6100546"/>
              <a:gd name="connsiteY1784" fmla="*/ 1189742 h 5950684"/>
              <a:gd name="connsiteX1785" fmla="*/ 5015007 w 6100546"/>
              <a:gd name="connsiteY1785" fmla="*/ 1152898 h 5950684"/>
              <a:gd name="connsiteX1786" fmla="*/ 4660366 w 6100546"/>
              <a:gd name="connsiteY1786" fmla="*/ 853527 h 5950684"/>
              <a:gd name="connsiteX1787" fmla="*/ 4775510 w 6100546"/>
              <a:gd name="connsiteY1787" fmla="*/ 918006 h 5950684"/>
              <a:gd name="connsiteX1788" fmla="*/ 4793932 w 6100546"/>
              <a:gd name="connsiteY1788" fmla="*/ 941035 h 5950684"/>
              <a:gd name="connsiteX1789" fmla="*/ 4909076 w 6100546"/>
              <a:gd name="connsiteY1789" fmla="*/ 1014726 h 5950684"/>
              <a:gd name="connsiteX1790" fmla="*/ 4881441 w 6100546"/>
              <a:gd name="connsiteY1790" fmla="*/ 973275 h 5950684"/>
              <a:gd name="connsiteX1791" fmla="*/ 4784721 w 6100546"/>
              <a:gd name="connsiteY1791" fmla="*/ 908795 h 5950684"/>
              <a:gd name="connsiteX1792" fmla="*/ 4766298 w 6100546"/>
              <a:gd name="connsiteY1792" fmla="*/ 885767 h 5950684"/>
              <a:gd name="connsiteX1793" fmla="*/ 4688002 w 6100546"/>
              <a:gd name="connsiteY1793" fmla="*/ 844315 h 5950684"/>
              <a:gd name="connsiteX1794" fmla="*/ 4614310 w 6100546"/>
              <a:gd name="connsiteY1794" fmla="*/ 789047 h 5950684"/>
              <a:gd name="connsiteX1795" fmla="*/ 4591281 w 6100546"/>
              <a:gd name="connsiteY1795" fmla="*/ 784440 h 5950684"/>
              <a:gd name="connsiteX1796" fmla="*/ 4559041 w 6100546"/>
              <a:gd name="connsiteY1796" fmla="*/ 756807 h 5950684"/>
              <a:gd name="connsiteX1797" fmla="*/ 4517589 w 6100546"/>
              <a:gd name="connsiteY1797" fmla="*/ 729172 h 5950684"/>
              <a:gd name="connsiteX1798" fmla="*/ 4462320 w 6100546"/>
              <a:gd name="connsiteY1798" fmla="*/ 719962 h 5950684"/>
              <a:gd name="connsiteX1799" fmla="*/ 4476137 w 6100546"/>
              <a:gd name="connsiteY1799" fmla="*/ 733778 h 5950684"/>
              <a:gd name="connsiteX1800" fmla="*/ 3094419 w 6100546"/>
              <a:gd name="connsiteY1800" fmla="*/ 356112 h 5950684"/>
              <a:gd name="connsiteX1801" fmla="*/ 3194685 w 6100546"/>
              <a:gd name="connsiteY1801" fmla="*/ 0 h 5950684"/>
              <a:gd name="connsiteX1802" fmla="*/ 3374449 w 6100546"/>
              <a:gd name="connsiteY1802" fmla="*/ 19122 h 5950684"/>
              <a:gd name="connsiteX1803" fmla="*/ 4745625 w 6100546"/>
              <a:gd name="connsiteY1803" fmla="*/ 523954 h 5950684"/>
              <a:gd name="connsiteX1804" fmla="*/ 5390097 w 6100546"/>
              <a:gd name="connsiteY1804" fmla="*/ 1124399 h 5950684"/>
              <a:gd name="connsiteX1805" fmla="*/ 5604284 w 6100546"/>
              <a:gd name="connsiteY1805" fmla="*/ 1394025 h 5950684"/>
              <a:gd name="connsiteX1806" fmla="*/ 5678867 w 6100546"/>
              <a:gd name="connsiteY1806" fmla="*/ 1539355 h 5950684"/>
              <a:gd name="connsiteX1807" fmla="*/ 5810821 w 6100546"/>
              <a:gd name="connsiteY1807" fmla="*/ 1820455 h 5950684"/>
              <a:gd name="connsiteX1808" fmla="*/ 5785960 w 6100546"/>
              <a:gd name="connsiteY1808" fmla="*/ 1688511 h 5950684"/>
              <a:gd name="connsiteX1809" fmla="*/ 5959987 w 6100546"/>
              <a:gd name="connsiteY1809" fmla="*/ 2107291 h 5950684"/>
              <a:gd name="connsiteX1810" fmla="*/ 5902615 w 6100546"/>
              <a:gd name="connsiteY1810" fmla="*/ 2063309 h 5950684"/>
              <a:gd name="connsiteX1811" fmla="*/ 5937038 w 6100546"/>
              <a:gd name="connsiteY1811" fmla="*/ 2193342 h 5950684"/>
              <a:gd name="connsiteX1812" fmla="*/ 5954249 w 6100546"/>
              <a:gd name="connsiteY1812" fmla="*/ 2199078 h 5950684"/>
              <a:gd name="connsiteX1813" fmla="*/ 6000147 w 6100546"/>
              <a:gd name="connsiteY1813" fmla="*/ 2223938 h 5950684"/>
              <a:gd name="connsiteX1814" fmla="*/ 6076641 w 6100546"/>
              <a:gd name="connsiteY1814" fmla="*/ 2558579 h 5950684"/>
              <a:gd name="connsiteX1815" fmla="*/ 6099590 w 6100546"/>
              <a:gd name="connsiteY1815" fmla="*/ 2847329 h 5950684"/>
              <a:gd name="connsiteX1816" fmla="*/ 6097678 w 6100546"/>
              <a:gd name="connsiteY1816" fmla="*/ 2870275 h 5950684"/>
              <a:gd name="connsiteX1817" fmla="*/ 6080467 w 6100546"/>
              <a:gd name="connsiteY1817" fmla="*/ 2893222 h 5950684"/>
              <a:gd name="connsiteX1818" fmla="*/ 6059431 w 6100546"/>
              <a:gd name="connsiteY1818" fmla="*/ 2872188 h 5950684"/>
              <a:gd name="connsiteX1819" fmla="*/ 6049869 w 6100546"/>
              <a:gd name="connsiteY1819" fmla="*/ 2791874 h 5950684"/>
              <a:gd name="connsiteX1820" fmla="*/ 6038394 w 6100546"/>
              <a:gd name="connsiteY1820" fmla="*/ 2763190 h 5950684"/>
              <a:gd name="connsiteX1821" fmla="*/ 6032657 w 6100546"/>
              <a:gd name="connsiteY1821" fmla="*/ 2860714 h 5950684"/>
              <a:gd name="connsiteX1822" fmla="*/ 6067080 w 6100546"/>
              <a:gd name="connsiteY1822" fmla="*/ 3340687 h 5950684"/>
              <a:gd name="connsiteX1823" fmla="*/ 5937038 w 6100546"/>
              <a:gd name="connsiteY1823" fmla="*/ 3920096 h 5950684"/>
              <a:gd name="connsiteX1824" fmla="*/ 5464680 w 6100546"/>
              <a:gd name="connsiteY1824" fmla="*/ 4824587 h 5950684"/>
              <a:gd name="connsiteX1825" fmla="*/ 4563949 w 6100546"/>
              <a:gd name="connsiteY1825" fmla="*/ 5570361 h 5950684"/>
              <a:gd name="connsiteX1826" fmla="*/ 4183385 w 6100546"/>
              <a:gd name="connsiteY1826" fmla="*/ 5752024 h 5950684"/>
              <a:gd name="connsiteX1827" fmla="*/ 3110540 w 6100546"/>
              <a:gd name="connsiteY1827" fmla="*/ 5948985 h 5950684"/>
              <a:gd name="connsiteX1828" fmla="*/ 2534914 w 6100546"/>
              <a:gd name="connsiteY1828" fmla="*/ 5910740 h 5950684"/>
              <a:gd name="connsiteX1829" fmla="*/ 2339851 w 6100546"/>
              <a:gd name="connsiteY1829" fmla="*/ 5878232 h 5950684"/>
              <a:gd name="connsiteX1830" fmla="*/ 2259531 w 6100546"/>
              <a:gd name="connsiteY1830" fmla="*/ 5851461 h 5950684"/>
              <a:gd name="connsiteX1831" fmla="*/ 2146701 w 6100546"/>
              <a:gd name="connsiteY1831" fmla="*/ 5830426 h 5950684"/>
              <a:gd name="connsiteX1832" fmla="*/ 2096979 w 6100546"/>
              <a:gd name="connsiteY1832" fmla="*/ 5805567 h 5950684"/>
              <a:gd name="connsiteX1833" fmla="*/ 2035784 w 6100546"/>
              <a:gd name="connsiteY1833" fmla="*/ 5767322 h 5950684"/>
              <a:gd name="connsiteX1834" fmla="*/ 1913390 w 6100546"/>
              <a:gd name="connsiteY1834" fmla="*/ 5730990 h 5950684"/>
              <a:gd name="connsiteX1835" fmla="*/ 1710678 w 6100546"/>
              <a:gd name="connsiteY1835" fmla="*/ 5623904 h 5950684"/>
              <a:gd name="connsiteX1836" fmla="*/ 1179037 w 6100546"/>
              <a:gd name="connsiteY1836" fmla="*/ 5243368 h 5950684"/>
              <a:gd name="connsiteX1837" fmla="*/ 876880 w 6100546"/>
              <a:gd name="connsiteY1837" fmla="*/ 4960356 h 5950684"/>
              <a:gd name="connsiteX1838" fmla="*/ 857756 w 6100546"/>
              <a:gd name="connsiteY1838" fmla="*/ 4937409 h 5950684"/>
              <a:gd name="connsiteX1839" fmla="*/ 863492 w 6100546"/>
              <a:gd name="connsiteY1839" fmla="*/ 4901077 h 5950684"/>
              <a:gd name="connsiteX1840" fmla="*/ 890267 w 6100546"/>
              <a:gd name="connsiteY1840" fmla="*/ 4912550 h 5950684"/>
              <a:gd name="connsiteX1841" fmla="*/ 1043257 w 6100546"/>
              <a:gd name="connsiteY1841" fmla="*/ 5067442 h 5950684"/>
              <a:gd name="connsiteX1842" fmla="*/ 1075769 w 6100546"/>
              <a:gd name="connsiteY1842" fmla="*/ 5086564 h 5950684"/>
              <a:gd name="connsiteX1843" fmla="*/ 1083416 w 6100546"/>
              <a:gd name="connsiteY1843" fmla="*/ 5086564 h 5950684"/>
              <a:gd name="connsiteX1844" fmla="*/ 1079592 w 6100546"/>
              <a:gd name="connsiteY1844" fmla="*/ 5080827 h 5950684"/>
              <a:gd name="connsiteX1845" fmla="*/ 808035 w 6100546"/>
              <a:gd name="connsiteY1845" fmla="*/ 4780605 h 5950684"/>
              <a:gd name="connsiteX1846" fmla="*/ 727714 w 6100546"/>
              <a:gd name="connsiteY1846" fmla="*/ 4683081 h 5950684"/>
              <a:gd name="connsiteX1847" fmla="*/ 699029 w 6100546"/>
              <a:gd name="connsiteY1847" fmla="*/ 4663959 h 5950684"/>
              <a:gd name="connsiteX1848" fmla="*/ 786998 w 6100546"/>
              <a:gd name="connsiteY1848" fmla="*/ 4851358 h 5950684"/>
              <a:gd name="connsiteX1849" fmla="*/ 341414 w 6100546"/>
              <a:gd name="connsiteY1849" fmla="*/ 4105584 h 5950684"/>
              <a:gd name="connsiteX1850" fmla="*/ 383486 w 6100546"/>
              <a:gd name="connsiteY1850" fmla="*/ 4153390 h 5950684"/>
              <a:gd name="connsiteX1851" fmla="*/ 417908 w 6100546"/>
              <a:gd name="connsiteY1851" fmla="*/ 4210757 h 5950684"/>
              <a:gd name="connsiteX1852" fmla="*/ 502054 w 6100546"/>
              <a:gd name="connsiteY1852" fmla="*/ 4365649 h 5950684"/>
              <a:gd name="connsiteX1853" fmla="*/ 513529 w 6100546"/>
              <a:gd name="connsiteY1853" fmla="*/ 4359912 h 5950684"/>
              <a:gd name="connsiteX1854" fmla="*/ 425558 w 6100546"/>
              <a:gd name="connsiteY1854" fmla="*/ 4205021 h 5950684"/>
              <a:gd name="connsiteX1855" fmla="*/ 213284 w 6100546"/>
              <a:gd name="connsiteY1855" fmla="*/ 3562506 h 5950684"/>
              <a:gd name="connsiteX1856" fmla="*/ 255357 w 6100546"/>
              <a:gd name="connsiteY1856" fmla="*/ 2193342 h 5950684"/>
              <a:gd name="connsiteX1857" fmla="*/ 329939 w 6100546"/>
              <a:gd name="connsiteY1857" fmla="*/ 1940925 h 5950684"/>
              <a:gd name="connsiteX1858" fmla="*/ 345237 w 6100546"/>
              <a:gd name="connsiteY1858" fmla="*/ 1921803 h 5950684"/>
              <a:gd name="connsiteX1859" fmla="*/ 350976 w 6100546"/>
              <a:gd name="connsiteY1859" fmla="*/ 1935188 h 5950684"/>
              <a:gd name="connsiteX1860" fmla="*/ 197985 w 6100546"/>
              <a:gd name="connsiteY1860" fmla="*/ 2765101 h 5950684"/>
              <a:gd name="connsiteX1861" fmla="*/ 205635 w 6100546"/>
              <a:gd name="connsiteY1861" fmla="*/ 3206829 h 5950684"/>
              <a:gd name="connsiteX1862" fmla="*/ 207547 w 6100546"/>
              <a:gd name="connsiteY1862" fmla="*/ 3260373 h 5950684"/>
              <a:gd name="connsiteX1863" fmla="*/ 219021 w 6100546"/>
              <a:gd name="connsiteY1863" fmla="*/ 3283319 h 5950684"/>
              <a:gd name="connsiteX1864" fmla="*/ 234319 w 6100546"/>
              <a:gd name="connsiteY1864" fmla="*/ 3258461 h 5950684"/>
              <a:gd name="connsiteX1865" fmla="*/ 219021 w 6100546"/>
              <a:gd name="connsiteY1865" fmla="*/ 3050026 h 5950684"/>
              <a:gd name="connsiteX1866" fmla="*/ 656957 w 6100546"/>
              <a:gd name="connsiteY1866" fmla="*/ 1455216 h 5950684"/>
              <a:gd name="connsiteX1867" fmla="*/ 664606 w 6100546"/>
              <a:gd name="connsiteY1867" fmla="*/ 1443743 h 5950684"/>
              <a:gd name="connsiteX1868" fmla="*/ 677992 w 6100546"/>
              <a:gd name="connsiteY1868" fmla="*/ 1439918 h 5950684"/>
              <a:gd name="connsiteX1869" fmla="*/ 628271 w 6100546"/>
              <a:gd name="connsiteY1869" fmla="*/ 1541267 h 5950684"/>
              <a:gd name="connsiteX1870" fmla="*/ 320376 w 6100546"/>
              <a:gd name="connsiteY1870" fmla="*/ 2319550 h 5950684"/>
              <a:gd name="connsiteX1871" fmla="*/ 306992 w 6100546"/>
              <a:gd name="connsiteY1871" fmla="*/ 2413250 h 5950684"/>
              <a:gd name="connsiteX1872" fmla="*/ 314640 w 6100546"/>
              <a:gd name="connsiteY1872" fmla="*/ 2434283 h 5950684"/>
              <a:gd name="connsiteX1873" fmla="*/ 335676 w 6100546"/>
              <a:gd name="connsiteY1873" fmla="*/ 2420899 h 5950684"/>
              <a:gd name="connsiteX1874" fmla="*/ 356712 w 6100546"/>
              <a:gd name="connsiteY1874" fmla="*/ 2392215 h 5950684"/>
              <a:gd name="connsiteX1875" fmla="*/ 350263 w 6100546"/>
              <a:gd name="connsiteY1875" fmla="*/ 2447349 h 5950684"/>
              <a:gd name="connsiteX1876" fmla="*/ 364870 w 6100546"/>
              <a:gd name="connsiteY1876" fmla="*/ 2370176 h 5950684"/>
              <a:gd name="connsiteX1877" fmla="*/ 541943 w 6100546"/>
              <a:gd name="connsiteY1877" fmla="*/ 1882854 h 5950684"/>
              <a:gd name="connsiteX1878" fmla="*/ 564586 w 6100546"/>
              <a:gd name="connsiteY1878" fmla="*/ 1841828 h 5950684"/>
              <a:gd name="connsiteX1879" fmla="*/ 591636 w 6100546"/>
              <a:gd name="connsiteY1879" fmla="*/ 1777608 h 5950684"/>
              <a:gd name="connsiteX1880" fmla="*/ 712415 w 6100546"/>
              <a:gd name="connsiteY1880" fmla="*/ 1552740 h 5950684"/>
              <a:gd name="connsiteX1881" fmla="*/ 727714 w 6100546"/>
              <a:gd name="connsiteY1881" fmla="*/ 1541267 h 5950684"/>
              <a:gd name="connsiteX1882" fmla="*/ 682530 w 6100546"/>
              <a:gd name="connsiteY1882" fmla="*/ 1633942 h 5950684"/>
              <a:gd name="connsiteX1883" fmla="*/ 815288 w 6100546"/>
              <a:gd name="connsiteY1883" fmla="*/ 1442050 h 5950684"/>
              <a:gd name="connsiteX1884" fmla="*/ 1054385 w 6100546"/>
              <a:gd name="connsiteY1884" fmla="*/ 1157035 h 5950684"/>
              <a:gd name="connsiteX1885" fmla="*/ 1843678 w 6100546"/>
              <a:gd name="connsiteY1885" fmla="*/ 606577 h 5950684"/>
              <a:gd name="connsiteX1886" fmla="*/ 1922812 w 6100546"/>
              <a:gd name="connsiteY1886" fmla="*/ 569857 h 5950684"/>
              <a:gd name="connsiteX1887" fmla="*/ 1943510 w 6100546"/>
              <a:gd name="connsiteY1887" fmla="*/ 554072 h 5950684"/>
              <a:gd name="connsiteX1888" fmla="*/ 1974586 w 6100546"/>
              <a:gd name="connsiteY1888" fmla="*/ 541165 h 5950684"/>
              <a:gd name="connsiteX1889" fmla="*/ 2253196 w 6100546"/>
              <a:gd name="connsiteY1889" fmla="*/ 444895 h 5950684"/>
              <a:gd name="connsiteX1890" fmla="*/ 2279666 w 6100546"/>
              <a:gd name="connsiteY1890" fmla="*/ 439914 h 5950684"/>
              <a:gd name="connsiteX1891" fmla="*/ 2319798 w 6100546"/>
              <a:gd name="connsiteY1891" fmla="*/ 426779 h 5950684"/>
              <a:gd name="connsiteX1892" fmla="*/ 2345463 w 6100546"/>
              <a:gd name="connsiteY1892" fmla="*/ 419889 h 5950684"/>
              <a:gd name="connsiteX1893" fmla="*/ 2342301 w 6100546"/>
              <a:gd name="connsiteY1893" fmla="*/ 416361 h 5950684"/>
              <a:gd name="connsiteX1894" fmla="*/ 2307340 w 6100546"/>
              <a:gd name="connsiteY1894" fmla="*/ 401571 h 5950684"/>
              <a:gd name="connsiteX1895" fmla="*/ 2437382 w 6100546"/>
              <a:gd name="connsiteY1895" fmla="*/ 363326 h 5950684"/>
              <a:gd name="connsiteX1896" fmla="*/ 3353412 w 6100546"/>
              <a:gd name="connsiteY1896" fmla="*/ 315520 h 5950684"/>
              <a:gd name="connsiteX1897" fmla="*/ 3980673 w 6100546"/>
              <a:gd name="connsiteY1897" fmla="*/ 476148 h 5950684"/>
              <a:gd name="connsiteX1898" fmla="*/ 4160437 w 6100546"/>
              <a:gd name="connsiteY1898" fmla="*/ 550726 h 5950684"/>
              <a:gd name="connsiteX1899" fmla="*/ 4204422 w 6100546"/>
              <a:gd name="connsiteY1899" fmla="*/ 535427 h 5950684"/>
              <a:gd name="connsiteX1900" fmla="*/ 4171911 w 6100546"/>
              <a:gd name="connsiteY1900" fmla="*/ 504832 h 5950684"/>
              <a:gd name="connsiteX1901" fmla="*/ 4116452 w 6100546"/>
              <a:gd name="connsiteY1901" fmla="*/ 468499 h 5950684"/>
              <a:gd name="connsiteX1902" fmla="*/ 4441557 w 6100546"/>
              <a:gd name="connsiteY1902" fmla="*/ 585145 h 5950684"/>
              <a:gd name="connsiteX1903" fmla="*/ 4619408 w 6100546"/>
              <a:gd name="connsiteY1903" fmla="*/ 688407 h 5950684"/>
              <a:gd name="connsiteX1904" fmla="*/ 4451119 w 6100546"/>
              <a:gd name="connsiteY1904" fmla="*/ 577496 h 5950684"/>
              <a:gd name="connsiteX1905" fmla="*/ 4192947 w 6100546"/>
              <a:gd name="connsiteY1905" fmla="*/ 455114 h 5950684"/>
              <a:gd name="connsiteX1906" fmla="*/ 3437557 w 6100546"/>
              <a:gd name="connsiteY1906" fmla="*/ 242855 h 5950684"/>
              <a:gd name="connsiteX1907" fmla="*/ 3336201 w 6100546"/>
              <a:gd name="connsiteY1907" fmla="*/ 235206 h 5950684"/>
              <a:gd name="connsiteX1908" fmla="*/ 3364887 w 6100546"/>
              <a:gd name="connsiteY1908" fmla="*/ 254328 h 5950684"/>
              <a:gd name="connsiteX1909" fmla="*/ 4011271 w 6100546"/>
              <a:gd name="connsiteY1909" fmla="*/ 414957 h 5950684"/>
              <a:gd name="connsiteX1910" fmla="*/ 4039957 w 6100546"/>
              <a:gd name="connsiteY1910" fmla="*/ 435991 h 5950684"/>
              <a:gd name="connsiteX1911" fmla="*/ 3999798 w 6100546"/>
              <a:gd name="connsiteY1911" fmla="*/ 443640 h 5950684"/>
              <a:gd name="connsiteX1912" fmla="*/ 3797085 w 6100546"/>
              <a:gd name="connsiteY1912" fmla="*/ 372886 h 5950684"/>
              <a:gd name="connsiteX1913" fmla="*/ 2867668 w 6100546"/>
              <a:gd name="connsiteY1913" fmla="*/ 271538 h 5950684"/>
              <a:gd name="connsiteX1914" fmla="*/ 2150525 w 6100546"/>
              <a:gd name="connsiteY1914" fmla="*/ 420693 h 5950684"/>
              <a:gd name="connsiteX1915" fmla="*/ 2003272 w 6100546"/>
              <a:gd name="connsiteY1915" fmla="*/ 458938 h 5950684"/>
              <a:gd name="connsiteX1916" fmla="*/ 3127752 w 6100546"/>
              <a:gd name="connsiteY1916" fmla="*/ 227557 h 5950684"/>
              <a:gd name="connsiteX1917" fmla="*/ 3066554 w 6100546"/>
              <a:gd name="connsiteY1917" fmla="*/ 198873 h 5950684"/>
              <a:gd name="connsiteX1918" fmla="*/ 3252056 w 6100546"/>
              <a:gd name="connsiteY1918" fmla="*/ 204609 h 5950684"/>
              <a:gd name="connsiteX1919" fmla="*/ 3512140 w 6100546"/>
              <a:gd name="connsiteY1919" fmla="*/ 233294 h 5950684"/>
              <a:gd name="connsiteX1920" fmla="*/ 3533176 w 6100546"/>
              <a:gd name="connsiteY1920" fmla="*/ 229469 h 5950684"/>
              <a:gd name="connsiteX1921" fmla="*/ 3515965 w 6100546"/>
              <a:gd name="connsiteY1921" fmla="*/ 216083 h 5950684"/>
              <a:gd name="connsiteX1922" fmla="*/ 3194685 w 6100546"/>
              <a:gd name="connsiteY1922" fmla="*/ 175926 h 5950684"/>
              <a:gd name="connsiteX1923" fmla="*/ 3116277 w 6100546"/>
              <a:gd name="connsiteY1923" fmla="*/ 162541 h 5950684"/>
              <a:gd name="connsiteX1924" fmla="*/ 2785435 w 6100546"/>
              <a:gd name="connsiteY1924" fmla="*/ 177838 h 5950684"/>
              <a:gd name="connsiteX1925" fmla="*/ 2062556 w 6100546"/>
              <a:gd name="connsiteY1925" fmla="*/ 332730 h 5950684"/>
              <a:gd name="connsiteX1926" fmla="*/ 1639921 w 6100546"/>
              <a:gd name="connsiteY1926" fmla="*/ 520130 h 5950684"/>
              <a:gd name="connsiteX1927" fmla="*/ 1597847 w 6100546"/>
              <a:gd name="connsiteY1927" fmla="*/ 537339 h 5950684"/>
              <a:gd name="connsiteX1928" fmla="*/ 1649482 w 6100546"/>
              <a:gd name="connsiteY1928" fmla="*/ 476148 h 5950684"/>
              <a:gd name="connsiteX1929" fmla="*/ 1997535 w 6100546"/>
              <a:gd name="connsiteY1929" fmla="*/ 321257 h 5950684"/>
              <a:gd name="connsiteX1930" fmla="*/ 3177473 w 6100546"/>
              <a:gd name="connsiteY1930" fmla="*/ 133856 h 5950684"/>
              <a:gd name="connsiteX1931" fmla="*/ 3670868 w 6100546"/>
              <a:gd name="connsiteY1931" fmla="*/ 216083 h 5950684"/>
              <a:gd name="connsiteX1932" fmla="*/ 4267530 w 6100546"/>
              <a:gd name="connsiteY1932" fmla="*/ 418781 h 5950684"/>
              <a:gd name="connsiteX1933" fmla="*/ 4301953 w 6100546"/>
              <a:gd name="connsiteY1933" fmla="*/ 458938 h 5950684"/>
              <a:gd name="connsiteX1934" fmla="*/ 4315340 w 6100546"/>
              <a:gd name="connsiteY1934" fmla="*/ 474236 h 5950684"/>
              <a:gd name="connsiteX1935" fmla="*/ 4651919 w 6100546"/>
              <a:gd name="connsiteY1935" fmla="*/ 663548 h 5950684"/>
              <a:gd name="connsiteX1936" fmla="*/ 4663393 w 6100546"/>
              <a:gd name="connsiteY1936" fmla="*/ 665460 h 5950684"/>
              <a:gd name="connsiteX1937" fmla="*/ 4642357 w 6100546"/>
              <a:gd name="connsiteY1937" fmla="*/ 610005 h 5950684"/>
              <a:gd name="connsiteX1938" fmla="*/ 4124102 w 6100546"/>
              <a:gd name="connsiteY1938" fmla="*/ 311696 h 5950684"/>
              <a:gd name="connsiteX1939" fmla="*/ 3183211 w 6100546"/>
              <a:gd name="connsiteY1939" fmla="*/ 103261 h 5950684"/>
              <a:gd name="connsiteX1940" fmla="*/ 2634357 w 6100546"/>
              <a:gd name="connsiteY1940" fmla="*/ 124296 h 5950684"/>
              <a:gd name="connsiteX1941" fmla="*/ 2420171 w 6100546"/>
              <a:gd name="connsiteY1941" fmla="*/ 128119 h 5950684"/>
              <a:gd name="connsiteX1942" fmla="*/ 3120102 w 6100546"/>
              <a:gd name="connsiteY1942" fmla="*/ 61192 h 5950684"/>
              <a:gd name="connsiteX1943" fmla="*/ 3818121 w 6100546"/>
              <a:gd name="connsiteY1943" fmla="*/ 154892 h 5950684"/>
              <a:gd name="connsiteX1944" fmla="*/ 3192772 w 6100546"/>
              <a:gd name="connsiteY1944" fmla="*/ 9561 h 5950684"/>
              <a:gd name="connsiteX1945" fmla="*/ 3194685 w 6100546"/>
              <a:gd name="connsiteY1945" fmla="*/ 0 h 5950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</a:cxnLst>
            <a:rect l="l" t="t" r="r" b="b"/>
            <a:pathLst>
              <a:path w="6100546" h="5950684">
                <a:moveTo>
                  <a:pt x="3440072" y="5547377"/>
                </a:moveTo>
                <a:lnTo>
                  <a:pt x="3363812" y="5559287"/>
                </a:lnTo>
                <a:lnTo>
                  <a:pt x="3377168" y="5558242"/>
                </a:lnTo>
                <a:cubicBezTo>
                  <a:pt x="3388467" y="5556803"/>
                  <a:pt x="3400989" y="5554788"/>
                  <a:pt x="3413942" y="5552485"/>
                </a:cubicBezTo>
                <a:close/>
                <a:moveTo>
                  <a:pt x="3588125" y="5518269"/>
                </a:moveTo>
                <a:lnTo>
                  <a:pt x="3546342" y="5527177"/>
                </a:lnTo>
                <a:lnTo>
                  <a:pt x="3552690" y="5526002"/>
                </a:lnTo>
                <a:cubicBezTo>
                  <a:pt x="3562477" y="5524275"/>
                  <a:pt x="3571689" y="5522548"/>
                  <a:pt x="3579893" y="5520676"/>
                </a:cubicBezTo>
                <a:close/>
                <a:moveTo>
                  <a:pt x="3658875" y="5502208"/>
                </a:moveTo>
                <a:lnTo>
                  <a:pt x="3652394" y="5503968"/>
                </a:lnTo>
                <a:lnTo>
                  <a:pt x="3656318" y="5505276"/>
                </a:lnTo>
                <a:close/>
                <a:moveTo>
                  <a:pt x="2933221" y="5496065"/>
                </a:moveTo>
                <a:cubicBezTo>
                  <a:pt x="2937825" y="5496065"/>
                  <a:pt x="2937825" y="5496065"/>
                  <a:pt x="2937825" y="5496065"/>
                </a:cubicBezTo>
                <a:cubicBezTo>
                  <a:pt x="2937825" y="5496065"/>
                  <a:pt x="2937825" y="5496065"/>
                  <a:pt x="2942431" y="5496065"/>
                </a:cubicBezTo>
                <a:cubicBezTo>
                  <a:pt x="2947037" y="5496065"/>
                  <a:pt x="2956248" y="5496065"/>
                  <a:pt x="2960854" y="5496065"/>
                </a:cubicBezTo>
                <a:lnTo>
                  <a:pt x="2970714" y="5498530"/>
                </a:lnTo>
                <a:close/>
                <a:moveTo>
                  <a:pt x="4136082" y="5495297"/>
                </a:moveTo>
                <a:lnTo>
                  <a:pt x="4135314" y="5496065"/>
                </a:lnTo>
                <a:cubicBezTo>
                  <a:pt x="4135314" y="5496065"/>
                  <a:pt x="4135314" y="5496065"/>
                  <a:pt x="4130708" y="5496065"/>
                </a:cubicBezTo>
                <a:close/>
                <a:moveTo>
                  <a:pt x="3223380" y="5491459"/>
                </a:moveTo>
                <a:lnTo>
                  <a:pt x="3223380" y="5494475"/>
                </a:lnTo>
                <a:lnTo>
                  <a:pt x="3230007" y="5494044"/>
                </a:lnTo>
                <a:lnTo>
                  <a:pt x="3232592" y="5491459"/>
                </a:lnTo>
                <a:cubicBezTo>
                  <a:pt x="3227986" y="5491458"/>
                  <a:pt x="3223380" y="5491459"/>
                  <a:pt x="3223380" y="5491459"/>
                </a:cubicBezTo>
                <a:close/>
                <a:moveTo>
                  <a:pt x="2531376" y="5422374"/>
                </a:moveTo>
                <a:lnTo>
                  <a:pt x="2538665" y="5442265"/>
                </a:lnTo>
                <a:cubicBezTo>
                  <a:pt x="2544586" y="5448142"/>
                  <a:pt x="2553524" y="5451486"/>
                  <a:pt x="2566301" y="5453081"/>
                </a:cubicBezTo>
                <a:cubicBezTo>
                  <a:pt x="2653436" y="5465296"/>
                  <a:pt x="2740536" y="5478453"/>
                  <a:pt x="2827948" y="5488225"/>
                </a:cubicBezTo>
                <a:lnTo>
                  <a:pt x="2854171" y="5490535"/>
                </a:lnTo>
                <a:lnTo>
                  <a:pt x="2858233" y="5490092"/>
                </a:lnTo>
                <a:cubicBezTo>
                  <a:pt x="2875073" y="5490308"/>
                  <a:pt x="2900980" y="5493762"/>
                  <a:pt x="2900980" y="5486854"/>
                </a:cubicBezTo>
                <a:lnTo>
                  <a:pt x="2905585" y="5486853"/>
                </a:lnTo>
                <a:cubicBezTo>
                  <a:pt x="2910191" y="5491458"/>
                  <a:pt x="2919403" y="5491459"/>
                  <a:pt x="2924007" y="5491459"/>
                </a:cubicBezTo>
                <a:cubicBezTo>
                  <a:pt x="2924008" y="5496065"/>
                  <a:pt x="2924008" y="5496065"/>
                  <a:pt x="2924008" y="5496065"/>
                </a:cubicBezTo>
                <a:lnTo>
                  <a:pt x="2924008" y="5496688"/>
                </a:lnTo>
                <a:lnTo>
                  <a:pt x="2959343" y="5499801"/>
                </a:lnTo>
                <a:lnTo>
                  <a:pt x="2977597" y="5500251"/>
                </a:lnTo>
                <a:lnTo>
                  <a:pt x="2970714" y="5498530"/>
                </a:lnTo>
                <a:lnTo>
                  <a:pt x="3008432" y="5501009"/>
                </a:lnTo>
                <a:lnTo>
                  <a:pt x="3047338" y="5501967"/>
                </a:lnTo>
                <a:lnTo>
                  <a:pt x="3062253" y="5501318"/>
                </a:lnTo>
                <a:cubicBezTo>
                  <a:pt x="3069665" y="5500958"/>
                  <a:pt x="3075997" y="5500671"/>
                  <a:pt x="3080603" y="5500671"/>
                </a:cubicBezTo>
                <a:cubicBezTo>
                  <a:pt x="3080603" y="5500671"/>
                  <a:pt x="3085209" y="5500671"/>
                  <a:pt x="3085209" y="5500671"/>
                </a:cubicBezTo>
                <a:lnTo>
                  <a:pt x="3134391" y="5500261"/>
                </a:lnTo>
                <a:lnTo>
                  <a:pt x="3198926" y="5496065"/>
                </a:lnTo>
                <a:lnTo>
                  <a:pt x="3185599" y="5496065"/>
                </a:lnTo>
                <a:cubicBezTo>
                  <a:pt x="3150841" y="5496065"/>
                  <a:pt x="3123206" y="5496065"/>
                  <a:pt x="3085209" y="5496065"/>
                </a:cubicBezTo>
                <a:cubicBezTo>
                  <a:pt x="3089814" y="5491459"/>
                  <a:pt x="3085209" y="5491459"/>
                  <a:pt x="3080603" y="5486854"/>
                </a:cubicBezTo>
                <a:cubicBezTo>
                  <a:pt x="3075997" y="5486854"/>
                  <a:pt x="3075997" y="5486854"/>
                  <a:pt x="3075997" y="5486854"/>
                </a:cubicBezTo>
                <a:cubicBezTo>
                  <a:pt x="3075997" y="5491459"/>
                  <a:pt x="3075997" y="5491459"/>
                  <a:pt x="3075997" y="5491459"/>
                </a:cubicBezTo>
                <a:cubicBezTo>
                  <a:pt x="3034546" y="5496065"/>
                  <a:pt x="2993094" y="5477641"/>
                  <a:pt x="2979277" y="5491459"/>
                </a:cubicBezTo>
                <a:cubicBezTo>
                  <a:pt x="2979277" y="5496065"/>
                  <a:pt x="2979277" y="5496065"/>
                  <a:pt x="2979277" y="5496065"/>
                </a:cubicBezTo>
                <a:cubicBezTo>
                  <a:pt x="2974671" y="5491459"/>
                  <a:pt x="2965460" y="5491459"/>
                  <a:pt x="2960854" y="5491458"/>
                </a:cubicBezTo>
                <a:cubicBezTo>
                  <a:pt x="2956248" y="5491459"/>
                  <a:pt x="2951643" y="5491459"/>
                  <a:pt x="2951643" y="5491459"/>
                </a:cubicBezTo>
                <a:cubicBezTo>
                  <a:pt x="2951642" y="5486854"/>
                  <a:pt x="2951643" y="5477642"/>
                  <a:pt x="2956248" y="5473037"/>
                </a:cubicBezTo>
                <a:cubicBezTo>
                  <a:pt x="2960854" y="5473037"/>
                  <a:pt x="2970066" y="5473037"/>
                  <a:pt x="2974671" y="5473037"/>
                </a:cubicBezTo>
                <a:cubicBezTo>
                  <a:pt x="2983883" y="5473037"/>
                  <a:pt x="2993094" y="5477641"/>
                  <a:pt x="3002307" y="5473037"/>
                </a:cubicBezTo>
                <a:cubicBezTo>
                  <a:pt x="3002307" y="5473037"/>
                  <a:pt x="3006911" y="5473037"/>
                  <a:pt x="3006911" y="5473037"/>
                </a:cubicBezTo>
                <a:cubicBezTo>
                  <a:pt x="3006911" y="5473037"/>
                  <a:pt x="3006911" y="5473037"/>
                  <a:pt x="3011517" y="5473037"/>
                </a:cubicBezTo>
                <a:cubicBezTo>
                  <a:pt x="3016123" y="5473037"/>
                  <a:pt x="3016123" y="5473037"/>
                  <a:pt x="3020729" y="5473037"/>
                </a:cubicBezTo>
                <a:cubicBezTo>
                  <a:pt x="3025334" y="5473037"/>
                  <a:pt x="3025334" y="5473037"/>
                  <a:pt x="3025334" y="5473037"/>
                </a:cubicBezTo>
                <a:lnTo>
                  <a:pt x="3024589" y="5472291"/>
                </a:lnTo>
                <a:lnTo>
                  <a:pt x="2937155" y="5469531"/>
                </a:lnTo>
                <a:lnTo>
                  <a:pt x="2924028" y="5468451"/>
                </a:lnTo>
                <a:lnTo>
                  <a:pt x="2928614" y="5473037"/>
                </a:lnTo>
                <a:cubicBezTo>
                  <a:pt x="2947037" y="5473037"/>
                  <a:pt x="2947037" y="5473037"/>
                  <a:pt x="2947037" y="5473037"/>
                </a:cubicBezTo>
                <a:cubicBezTo>
                  <a:pt x="2942431" y="5477641"/>
                  <a:pt x="2937825" y="5486854"/>
                  <a:pt x="2937825" y="5491459"/>
                </a:cubicBezTo>
                <a:cubicBezTo>
                  <a:pt x="2933220" y="5491459"/>
                  <a:pt x="2928614" y="5491459"/>
                  <a:pt x="2928614" y="5491459"/>
                </a:cubicBezTo>
                <a:cubicBezTo>
                  <a:pt x="2924007" y="5491459"/>
                  <a:pt x="2924007" y="5491459"/>
                  <a:pt x="2924007" y="5491459"/>
                </a:cubicBezTo>
                <a:cubicBezTo>
                  <a:pt x="2928614" y="5486854"/>
                  <a:pt x="2928614" y="5486854"/>
                  <a:pt x="2928614" y="5486854"/>
                </a:cubicBezTo>
                <a:cubicBezTo>
                  <a:pt x="2928614" y="5486854"/>
                  <a:pt x="2924008" y="5486854"/>
                  <a:pt x="2924008" y="5482248"/>
                </a:cubicBezTo>
                <a:cubicBezTo>
                  <a:pt x="2919403" y="5482248"/>
                  <a:pt x="2919403" y="5486853"/>
                  <a:pt x="2914797" y="5486854"/>
                </a:cubicBezTo>
                <a:cubicBezTo>
                  <a:pt x="2914797" y="5486854"/>
                  <a:pt x="2910191" y="5486854"/>
                  <a:pt x="2910191" y="5486854"/>
                </a:cubicBezTo>
                <a:cubicBezTo>
                  <a:pt x="2905585" y="5486853"/>
                  <a:pt x="2900980" y="5482248"/>
                  <a:pt x="2891768" y="5482248"/>
                </a:cubicBezTo>
                <a:cubicBezTo>
                  <a:pt x="2873345" y="5482248"/>
                  <a:pt x="2896375" y="5477642"/>
                  <a:pt x="2882557" y="5473037"/>
                </a:cubicBezTo>
                <a:cubicBezTo>
                  <a:pt x="2873345" y="5482248"/>
                  <a:pt x="2859528" y="5473037"/>
                  <a:pt x="2850318" y="5468431"/>
                </a:cubicBezTo>
                <a:cubicBezTo>
                  <a:pt x="2850317" y="5473037"/>
                  <a:pt x="2850317" y="5477642"/>
                  <a:pt x="2845711" y="5477642"/>
                </a:cubicBezTo>
                <a:cubicBezTo>
                  <a:pt x="2845711" y="5473037"/>
                  <a:pt x="2845711" y="5468430"/>
                  <a:pt x="2841105" y="5468431"/>
                </a:cubicBezTo>
                <a:cubicBezTo>
                  <a:pt x="2836500" y="5473037"/>
                  <a:pt x="2822682" y="5473037"/>
                  <a:pt x="2813471" y="5473037"/>
                </a:cubicBezTo>
                <a:cubicBezTo>
                  <a:pt x="2818077" y="5463825"/>
                  <a:pt x="2785837" y="5463825"/>
                  <a:pt x="2781231" y="5468431"/>
                </a:cubicBezTo>
                <a:cubicBezTo>
                  <a:pt x="2776625" y="5468431"/>
                  <a:pt x="2776625" y="5468431"/>
                  <a:pt x="2776625" y="5468431"/>
                </a:cubicBezTo>
                <a:cubicBezTo>
                  <a:pt x="2762808" y="5468431"/>
                  <a:pt x="2776625" y="5459219"/>
                  <a:pt x="2762808" y="5459219"/>
                </a:cubicBezTo>
                <a:cubicBezTo>
                  <a:pt x="2753597" y="5463825"/>
                  <a:pt x="2748991" y="5468431"/>
                  <a:pt x="2725962" y="5463825"/>
                </a:cubicBezTo>
                <a:cubicBezTo>
                  <a:pt x="2716751" y="5459219"/>
                  <a:pt x="2702934" y="5454614"/>
                  <a:pt x="2689116" y="5454614"/>
                </a:cubicBezTo>
                <a:cubicBezTo>
                  <a:pt x="2684511" y="5454614"/>
                  <a:pt x="2675299" y="5454614"/>
                  <a:pt x="2670694" y="5450008"/>
                </a:cubicBezTo>
                <a:cubicBezTo>
                  <a:pt x="2643059" y="5445402"/>
                  <a:pt x="2666088" y="5445402"/>
                  <a:pt x="2647665" y="5436191"/>
                </a:cubicBezTo>
                <a:cubicBezTo>
                  <a:pt x="2629242" y="5445402"/>
                  <a:pt x="2573973" y="5417768"/>
                  <a:pt x="2555550" y="5422374"/>
                </a:cubicBezTo>
                <a:cubicBezTo>
                  <a:pt x="2573973" y="5431585"/>
                  <a:pt x="2537128" y="5422374"/>
                  <a:pt x="2537128" y="5422374"/>
                </a:cubicBezTo>
                <a:close/>
                <a:moveTo>
                  <a:pt x="4476137" y="5233540"/>
                </a:moveTo>
                <a:cubicBezTo>
                  <a:pt x="4476137" y="5233540"/>
                  <a:pt x="4476137" y="5233540"/>
                  <a:pt x="4480743" y="5233540"/>
                </a:cubicBezTo>
                <a:lnTo>
                  <a:pt x="4476137" y="5235582"/>
                </a:lnTo>
                <a:close/>
                <a:moveTo>
                  <a:pt x="4849201" y="4772971"/>
                </a:moveTo>
                <a:lnTo>
                  <a:pt x="4849394" y="4772971"/>
                </a:lnTo>
                <a:lnTo>
                  <a:pt x="4844595" y="4777577"/>
                </a:lnTo>
                <a:cubicBezTo>
                  <a:pt x="4849201" y="4777577"/>
                  <a:pt x="4849201" y="4772971"/>
                  <a:pt x="4849201" y="4772971"/>
                </a:cubicBezTo>
                <a:close/>
                <a:moveTo>
                  <a:pt x="4789327" y="4768227"/>
                </a:moveTo>
                <a:lnTo>
                  <a:pt x="4789327" y="4768365"/>
                </a:lnTo>
                <a:cubicBezTo>
                  <a:pt x="4789327" y="4768365"/>
                  <a:pt x="4789327" y="4768365"/>
                  <a:pt x="4784721" y="4772971"/>
                </a:cubicBezTo>
                <a:close/>
                <a:moveTo>
                  <a:pt x="5116333" y="4519658"/>
                </a:moveTo>
                <a:cubicBezTo>
                  <a:pt x="5107122" y="4533474"/>
                  <a:pt x="5107121" y="4524264"/>
                  <a:pt x="5097910" y="4533475"/>
                </a:cubicBezTo>
                <a:cubicBezTo>
                  <a:pt x="5093304" y="4542686"/>
                  <a:pt x="5107121" y="4528869"/>
                  <a:pt x="5102516" y="4542686"/>
                </a:cubicBezTo>
                <a:cubicBezTo>
                  <a:pt x="5088699" y="4551898"/>
                  <a:pt x="5084093" y="4565715"/>
                  <a:pt x="5074881" y="4570320"/>
                </a:cubicBezTo>
                <a:cubicBezTo>
                  <a:pt x="5079487" y="4565715"/>
                  <a:pt x="5084093" y="4561109"/>
                  <a:pt x="5084093" y="4556503"/>
                </a:cubicBezTo>
                <a:cubicBezTo>
                  <a:pt x="5065670" y="4579531"/>
                  <a:pt x="5042641" y="4607166"/>
                  <a:pt x="5019613" y="4639406"/>
                </a:cubicBezTo>
                <a:cubicBezTo>
                  <a:pt x="4996584" y="4671646"/>
                  <a:pt x="4973555" y="4703886"/>
                  <a:pt x="4955133" y="4731520"/>
                </a:cubicBezTo>
                <a:cubicBezTo>
                  <a:pt x="4955133" y="4726913"/>
                  <a:pt x="4950527" y="4726914"/>
                  <a:pt x="4945921" y="4731520"/>
                </a:cubicBezTo>
                <a:cubicBezTo>
                  <a:pt x="4922893" y="4759154"/>
                  <a:pt x="4904470" y="4782183"/>
                  <a:pt x="4876835" y="4805211"/>
                </a:cubicBezTo>
                <a:cubicBezTo>
                  <a:pt x="4881441" y="4814422"/>
                  <a:pt x="4858413" y="4823634"/>
                  <a:pt x="4849201" y="4832845"/>
                </a:cubicBezTo>
                <a:cubicBezTo>
                  <a:pt x="4844595" y="4837451"/>
                  <a:pt x="4849201" y="4842057"/>
                  <a:pt x="4839989" y="4846662"/>
                </a:cubicBezTo>
                <a:cubicBezTo>
                  <a:pt x="4839989" y="4851268"/>
                  <a:pt x="4826172" y="4855874"/>
                  <a:pt x="4816961" y="4865085"/>
                </a:cubicBezTo>
                <a:cubicBezTo>
                  <a:pt x="4803144" y="4878902"/>
                  <a:pt x="4789327" y="4897324"/>
                  <a:pt x="4775509" y="4911141"/>
                </a:cubicBezTo>
                <a:cubicBezTo>
                  <a:pt x="4757086" y="4929565"/>
                  <a:pt x="4757086" y="4934170"/>
                  <a:pt x="4734058" y="4952593"/>
                </a:cubicBezTo>
                <a:cubicBezTo>
                  <a:pt x="4692606" y="4998650"/>
                  <a:pt x="4628126" y="5040101"/>
                  <a:pt x="4609703" y="5063130"/>
                </a:cubicBezTo>
                <a:cubicBezTo>
                  <a:pt x="4595886" y="5063130"/>
                  <a:pt x="4582069" y="5086157"/>
                  <a:pt x="4572858" y="5095370"/>
                </a:cubicBezTo>
                <a:cubicBezTo>
                  <a:pt x="4577463" y="5086158"/>
                  <a:pt x="4572858" y="5090764"/>
                  <a:pt x="4568252" y="5090764"/>
                </a:cubicBezTo>
                <a:cubicBezTo>
                  <a:pt x="4536012" y="5123004"/>
                  <a:pt x="4485349" y="5141426"/>
                  <a:pt x="4434686" y="5182878"/>
                </a:cubicBezTo>
                <a:cubicBezTo>
                  <a:pt x="4416264" y="5201301"/>
                  <a:pt x="4430080" y="5192089"/>
                  <a:pt x="4402447" y="5205906"/>
                </a:cubicBezTo>
                <a:cubicBezTo>
                  <a:pt x="4384023" y="5215118"/>
                  <a:pt x="4370207" y="5228935"/>
                  <a:pt x="4351783" y="5238146"/>
                </a:cubicBezTo>
                <a:cubicBezTo>
                  <a:pt x="4287303" y="5274991"/>
                  <a:pt x="4222822" y="5307232"/>
                  <a:pt x="4167554" y="5334866"/>
                </a:cubicBezTo>
                <a:cubicBezTo>
                  <a:pt x="4144525" y="5348683"/>
                  <a:pt x="4126102" y="5353289"/>
                  <a:pt x="4112285" y="5367106"/>
                </a:cubicBezTo>
                <a:cubicBezTo>
                  <a:pt x="4107679" y="5367105"/>
                  <a:pt x="4107679" y="5367105"/>
                  <a:pt x="4103074" y="5367106"/>
                </a:cubicBezTo>
                <a:cubicBezTo>
                  <a:pt x="4098468" y="5367106"/>
                  <a:pt x="4084651" y="5367106"/>
                  <a:pt x="4061622" y="5380923"/>
                </a:cubicBezTo>
                <a:cubicBezTo>
                  <a:pt x="4052411" y="5385528"/>
                  <a:pt x="4038593" y="5394740"/>
                  <a:pt x="4029382" y="5399345"/>
                </a:cubicBezTo>
                <a:cubicBezTo>
                  <a:pt x="3987930" y="5413163"/>
                  <a:pt x="3937268" y="5426980"/>
                  <a:pt x="3923451" y="5440797"/>
                </a:cubicBezTo>
                <a:cubicBezTo>
                  <a:pt x="3932662" y="5426979"/>
                  <a:pt x="3877393" y="5454614"/>
                  <a:pt x="3863576" y="5463824"/>
                </a:cubicBezTo>
                <a:cubicBezTo>
                  <a:pt x="3845153" y="5459219"/>
                  <a:pt x="3812913" y="5482248"/>
                  <a:pt x="3776067" y="5486853"/>
                </a:cubicBezTo>
                <a:cubicBezTo>
                  <a:pt x="3771461" y="5486854"/>
                  <a:pt x="3776067" y="5496065"/>
                  <a:pt x="3762250" y="5496065"/>
                </a:cubicBezTo>
                <a:cubicBezTo>
                  <a:pt x="3753039" y="5491459"/>
                  <a:pt x="3720799" y="5500671"/>
                  <a:pt x="3725404" y="5505276"/>
                </a:cubicBezTo>
                <a:cubicBezTo>
                  <a:pt x="3711587" y="5496065"/>
                  <a:pt x="3683953" y="5514488"/>
                  <a:pt x="3674741" y="5509882"/>
                </a:cubicBezTo>
                <a:cubicBezTo>
                  <a:pt x="3674741" y="5519093"/>
                  <a:pt x="3670136" y="5523698"/>
                  <a:pt x="3665530" y="5528305"/>
                </a:cubicBezTo>
                <a:cubicBezTo>
                  <a:pt x="3656318" y="5532911"/>
                  <a:pt x="3651713" y="5532911"/>
                  <a:pt x="3642501" y="5537515"/>
                </a:cubicBezTo>
                <a:cubicBezTo>
                  <a:pt x="3610261" y="5546728"/>
                  <a:pt x="3568810" y="5551333"/>
                  <a:pt x="3531964" y="5555939"/>
                </a:cubicBezTo>
                <a:cubicBezTo>
                  <a:pt x="3522752" y="5555939"/>
                  <a:pt x="3513541" y="5551333"/>
                  <a:pt x="3513541" y="5551333"/>
                </a:cubicBezTo>
                <a:cubicBezTo>
                  <a:pt x="3508935" y="5555939"/>
                  <a:pt x="3504329" y="5555939"/>
                  <a:pt x="3499724" y="5560545"/>
                </a:cubicBezTo>
                <a:cubicBezTo>
                  <a:pt x="3495118" y="5560545"/>
                  <a:pt x="3495118" y="5560545"/>
                  <a:pt x="3495118" y="5560545"/>
                </a:cubicBezTo>
                <a:cubicBezTo>
                  <a:pt x="3462878" y="5551333"/>
                  <a:pt x="3416821" y="5565150"/>
                  <a:pt x="3379975" y="5574362"/>
                </a:cubicBezTo>
                <a:cubicBezTo>
                  <a:pt x="3379975" y="5569755"/>
                  <a:pt x="3379975" y="5569755"/>
                  <a:pt x="3379975" y="5569755"/>
                </a:cubicBezTo>
                <a:cubicBezTo>
                  <a:pt x="3366158" y="5565150"/>
                  <a:pt x="3361552" y="5583573"/>
                  <a:pt x="3356946" y="5569756"/>
                </a:cubicBezTo>
                <a:cubicBezTo>
                  <a:pt x="3333918" y="5569756"/>
                  <a:pt x="3347735" y="5578967"/>
                  <a:pt x="3329312" y="5578967"/>
                </a:cubicBezTo>
                <a:cubicBezTo>
                  <a:pt x="3329312" y="5574362"/>
                  <a:pt x="3320101" y="5574362"/>
                  <a:pt x="3315495" y="5569756"/>
                </a:cubicBezTo>
                <a:cubicBezTo>
                  <a:pt x="3297072" y="5578967"/>
                  <a:pt x="3278649" y="5578967"/>
                  <a:pt x="3255620" y="5574362"/>
                </a:cubicBezTo>
                <a:cubicBezTo>
                  <a:pt x="3246409" y="5588179"/>
                  <a:pt x="3218775" y="5578967"/>
                  <a:pt x="3209563" y="5583573"/>
                </a:cubicBezTo>
                <a:cubicBezTo>
                  <a:pt x="3209564" y="5578967"/>
                  <a:pt x="3204957" y="5578967"/>
                  <a:pt x="3204957" y="5578967"/>
                </a:cubicBezTo>
                <a:cubicBezTo>
                  <a:pt x="3177323" y="5588179"/>
                  <a:pt x="3154294" y="5583573"/>
                  <a:pt x="3131266" y="5583573"/>
                </a:cubicBezTo>
                <a:lnTo>
                  <a:pt x="3122176" y="5583573"/>
                </a:lnTo>
                <a:lnTo>
                  <a:pt x="3072847" y="5585832"/>
                </a:lnTo>
                <a:lnTo>
                  <a:pt x="3062180" y="5588179"/>
                </a:lnTo>
                <a:lnTo>
                  <a:pt x="3065288" y="5586179"/>
                </a:lnTo>
                <a:lnTo>
                  <a:pt x="3001837" y="5589085"/>
                </a:lnTo>
                <a:cubicBezTo>
                  <a:pt x="2840375" y="5592138"/>
                  <a:pt x="2677977" y="5582257"/>
                  <a:pt x="2514861" y="5559930"/>
                </a:cubicBezTo>
                <a:cubicBezTo>
                  <a:pt x="2384509" y="5542375"/>
                  <a:pt x="2257185" y="5514172"/>
                  <a:pt x="2133989" y="5473661"/>
                </a:cubicBezTo>
                <a:lnTo>
                  <a:pt x="2031916" y="5434193"/>
                </a:lnTo>
                <a:lnTo>
                  <a:pt x="2081737" y="5455765"/>
                </a:lnTo>
                <a:cubicBezTo>
                  <a:pt x="2099584" y="5462674"/>
                  <a:pt x="2115704" y="5468431"/>
                  <a:pt x="2127218" y="5473037"/>
                </a:cubicBezTo>
                <a:cubicBezTo>
                  <a:pt x="2191697" y="5496065"/>
                  <a:pt x="2242361" y="5523699"/>
                  <a:pt x="2293024" y="5542122"/>
                </a:cubicBezTo>
                <a:cubicBezTo>
                  <a:pt x="2329870" y="5551333"/>
                  <a:pt x="2380533" y="5565150"/>
                  <a:pt x="2421984" y="5574362"/>
                </a:cubicBezTo>
                <a:cubicBezTo>
                  <a:pt x="2445013" y="5588179"/>
                  <a:pt x="2477253" y="5592785"/>
                  <a:pt x="2509493" y="5597390"/>
                </a:cubicBezTo>
                <a:cubicBezTo>
                  <a:pt x="2523310" y="5611207"/>
                  <a:pt x="2569368" y="5620419"/>
                  <a:pt x="2615425" y="5629630"/>
                </a:cubicBezTo>
                <a:cubicBezTo>
                  <a:pt x="2661482" y="5638841"/>
                  <a:pt x="2707539" y="5648053"/>
                  <a:pt x="2721356" y="5661870"/>
                </a:cubicBezTo>
                <a:cubicBezTo>
                  <a:pt x="2735174" y="5661870"/>
                  <a:pt x="2758202" y="5666476"/>
                  <a:pt x="2762809" y="5671081"/>
                </a:cubicBezTo>
                <a:cubicBezTo>
                  <a:pt x="2776625" y="5661870"/>
                  <a:pt x="2827289" y="5671081"/>
                  <a:pt x="2831894" y="5680293"/>
                </a:cubicBezTo>
                <a:cubicBezTo>
                  <a:pt x="2836500" y="5680293"/>
                  <a:pt x="2845711" y="5680293"/>
                  <a:pt x="2850317" y="5680292"/>
                </a:cubicBezTo>
                <a:cubicBezTo>
                  <a:pt x="2850317" y="5694110"/>
                  <a:pt x="2891768" y="5684897"/>
                  <a:pt x="2924008" y="5694110"/>
                </a:cubicBezTo>
                <a:cubicBezTo>
                  <a:pt x="2928614" y="5694110"/>
                  <a:pt x="2928614" y="5694110"/>
                  <a:pt x="2928614" y="5694110"/>
                </a:cubicBezTo>
                <a:cubicBezTo>
                  <a:pt x="2928614" y="5694110"/>
                  <a:pt x="2928614" y="5698715"/>
                  <a:pt x="2928614" y="5698715"/>
                </a:cubicBezTo>
                <a:cubicBezTo>
                  <a:pt x="2933220" y="5698715"/>
                  <a:pt x="2933220" y="5698715"/>
                  <a:pt x="2937825" y="5698715"/>
                </a:cubicBezTo>
                <a:cubicBezTo>
                  <a:pt x="2937825" y="5698715"/>
                  <a:pt x="2937825" y="5698715"/>
                  <a:pt x="2937825" y="5694109"/>
                </a:cubicBezTo>
                <a:cubicBezTo>
                  <a:pt x="2937825" y="5694109"/>
                  <a:pt x="2933220" y="5694110"/>
                  <a:pt x="2933220" y="5694110"/>
                </a:cubicBezTo>
                <a:cubicBezTo>
                  <a:pt x="2942431" y="5694110"/>
                  <a:pt x="2956248" y="5694110"/>
                  <a:pt x="2956248" y="5689504"/>
                </a:cubicBezTo>
                <a:cubicBezTo>
                  <a:pt x="3034546" y="5698715"/>
                  <a:pt x="3112843" y="5703321"/>
                  <a:pt x="3195746" y="5698714"/>
                </a:cubicBezTo>
                <a:cubicBezTo>
                  <a:pt x="3227986" y="5694110"/>
                  <a:pt x="3251015" y="5694110"/>
                  <a:pt x="3287860" y="5694110"/>
                </a:cubicBezTo>
                <a:cubicBezTo>
                  <a:pt x="3329312" y="5689504"/>
                  <a:pt x="3389186" y="5680292"/>
                  <a:pt x="3444455" y="5675687"/>
                </a:cubicBezTo>
                <a:cubicBezTo>
                  <a:pt x="3504328" y="5666476"/>
                  <a:pt x="3559598" y="5657263"/>
                  <a:pt x="3605655" y="5648053"/>
                </a:cubicBezTo>
                <a:cubicBezTo>
                  <a:pt x="3642502" y="5643446"/>
                  <a:pt x="3660924" y="5638841"/>
                  <a:pt x="3702376" y="5629630"/>
                </a:cubicBezTo>
                <a:cubicBezTo>
                  <a:pt x="3711587" y="5625024"/>
                  <a:pt x="3725404" y="5625024"/>
                  <a:pt x="3734617" y="5625024"/>
                </a:cubicBezTo>
                <a:cubicBezTo>
                  <a:pt x="3757644" y="5620419"/>
                  <a:pt x="3776067" y="5606602"/>
                  <a:pt x="3799096" y="5606602"/>
                </a:cubicBezTo>
                <a:cubicBezTo>
                  <a:pt x="3799096" y="5606602"/>
                  <a:pt x="3799096" y="5611207"/>
                  <a:pt x="3799096" y="5611207"/>
                </a:cubicBezTo>
                <a:cubicBezTo>
                  <a:pt x="3794490" y="5611207"/>
                  <a:pt x="3799096" y="5615813"/>
                  <a:pt x="3803702" y="5611207"/>
                </a:cubicBezTo>
                <a:cubicBezTo>
                  <a:pt x="3808308" y="5611207"/>
                  <a:pt x="3812913" y="5611207"/>
                  <a:pt x="3812913" y="5611207"/>
                </a:cubicBezTo>
                <a:cubicBezTo>
                  <a:pt x="3812913" y="5606602"/>
                  <a:pt x="3817519" y="5606602"/>
                  <a:pt x="3817519" y="5606602"/>
                </a:cubicBezTo>
                <a:cubicBezTo>
                  <a:pt x="3817519" y="5611206"/>
                  <a:pt x="3822125" y="5611207"/>
                  <a:pt x="3826730" y="5611207"/>
                </a:cubicBezTo>
                <a:cubicBezTo>
                  <a:pt x="3831336" y="5606602"/>
                  <a:pt x="3826730" y="5606602"/>
                  <a:pt x="3826730" y="5601996"/>
                </a:cubicBezTo>
                <a:cubicBezTo>
                  <a:pt x="3826730" y="5601996"/>
                  <a:pt x="3831336" y="5601996"/>
                  <a:pt x="3831336" y="5601996"/>
                </a:cubicBezTo>
                <a:cubicBezTo>
                  <a:pt x="3835942" y="5601996"/>
                  <a:pt x="3840547" y="5597390"/>
                  <a:pt x="3840547" y="5597390"/>
                </a:cubicBezTo>
                <a:cubicBezTo>
                  <a:pt x="3840547" y="5592785"/>
                  <a:pt x="3835942" y="5592785"/>
                  <a:pt x="3831336" y="5592785"/>
                </a:cubicBezTo>
                <a:cubicBezTo>
                  <a:pt x="3831336" y="5597390"/>
                  <a:pt x="3831336" y="5597390"/>
                  <a:pt x="3831336" y="5597390"/>
                </a:cubicBezTo>
                <a:cubicBezTo>
                  <a:pt x="3826730" y="5592785"/>
                  <a:pt x="3826730" y="5592785"/>
                  <a:pt x="3826730" y="5592785"/>
                </a:cubicBezTo>
                <a:cubicBezTo>
                  <a:pt x="3863577" y="5588179"/>
                  <a:pt x="3918845" y="5574362"/>
                  <a:pt x="3941873" y="5555939"/>
                </a:cubicBezTo>
                <a:cubicBezTo>
                  <a:pt x="3983325" y="5546728"/>
                  <a:pt x="4043200" y="5523699"/>
                  <a:pt x="4116891" y="5491458"/>
                </a:cubicBezTo>
                <a:cubicBezTo>
                  <a:pt x="4116891" y="5496065"/>
                  <a:pt x="4116891" y="5496065"/>
                  <a:pt x="4116891" y="5496065"/>
                </a:cubicBezTo>
                <a:cubicBezTo>
                  <a:pt x="4116891" y="5496065"/>
                  <a:pt x="4112285" y="5496065"/>
                  <a:pt x="4112285" y="5496065"/>
                </a:cubicBezTo>
                <a:cubicBezTo>
                  <a:pt x="4107679" y="5500671"/>
                  <a:pt x="4103074" y="5500671"/>
                  <a:pt x="4107679" y="5505276"/>
                </a:cubicBezTo>
                <a:cubicBezTo>
                  <a:pt x="4107679" y="5505276"/>
                  <a:pt x="4112285" y="5505276"/>
                  <a:pt x="4116891" y="5500671"/>
                </a:cubicBezTo>
                <a:cubicBezTo>
                  <a:pt x="4121496" y="5500671"/>
                  <a:pt x="4121496" y="5500671"/>
                  <a:pt x="4126102" y="5496065"/>
                </a:cubicBezTo>
                <a:cubicBezTo>
                  <a:pt x="4126102" y="5500671"/>
                  <a:pt x="4130708" y="5500671"/>
                  <a:pt x="4139919" y="5500671"/>
                </a:cubicBezTo>
                <a:cubicBezTo>
                  <a:pt x="4139919" y="5498368"/>
                  <a:pt x="4139919" y="5496064"/>
                  <a:pt x="4138768" y="5494913"/>
                </a:cubicBezTo>
                <a:lnTo>
                  <a:pt x="4136082" y="5495297"/>
                </a:lnTo>
                <a:lnTo>
                  <a:pt x="4144525" y="5486853"/>
                </a:lnTo>
                <a:cubicBezTo>
                  <a:pt x="4139919" y="5486854"/>
                  <a:pt x="4135314" y="5486854"/>
                  <a:pt x="4130708" y="5486854"/>
                </a:cubicBezTo>
                <a:cubicBezTo>
                  <a:pt x="4144526" y="5473037"/>
                  <a:pt x="4153738" y="5463825"/>
                  <a:pt x="4176765" y="5454614"/>
                </a:cubicBezTo>
                <a:cubicBezTo>
                  <a:pt x="4172159" y="5459219"/>
                  <a:pt x="4176765" y="5459219"/>
                  <a:pt x="4181371" y="5459219"/>
                </a:cubicBezTo>
                <a:cubicBezTo>
                  <a:pt x="4204399" y="5450008"/>
                  <a:pt x="4227428" y="5426980"/>
                  <a:pt x="4241245" y="5422374"/>
                </a:cubicBezTo>
                <a:cubicBezTo>
                  <a:pt x="4241245" y="5422374"/>
                  <a:pt x="4241245" y="5426980"/>
                  <a:pt x="4236640" y="5426980"/>
                </a:cubicBezTo>
                <a:cubicBezTo>
                  <a:pt x="4268881" y="5413163"/>
                  <a:pt x="4291908" y="5390134"/>
                  <a:pt x="4305725" y="5394740"/>
                </a:cubicBezTo>
                <a:cubicBezTo>
                  <a:pt x="4301120" y="5394740"/>
                  <a:pt x="4305725" y="5390133"/>
                  <a:pt x="4310331" y="5390134"/>
                </a:cubicBezTo>
                <a:cubicBezTo>
                  <a:pt x="4319543" y="5376316"/>
                  <a:pt x="4296514" y="5390134"/>
                  <a:pt x="4291908" y="5390134"/>
                </a:cubicBezTo>
                <a:cubicBezTo>
                  <a:pt x="4319543" y="5376316"/>
                  <a:pt x="4328754" y="5376317"/>
                  <a:pt x="4337965" y="5362500"/>
                </a:cubicBezTo>
                <a:cubicBezTo>
                  <a:pt x="4342572" y="5367106"/>
                  <a:pt x="4333360" y="5376317"/>
                  <a:pt x="4347177" y="5367106"/>
                </a:cubicBezTo>
                <a:cubicBezTo>
                  <a:pt x="4351784" y="5357894"/>
                  <a:pt x="4347177" y="5362500"/>
                  <a:pt x="4356388" y="5353289"/>
                </a:cubicBezTo>
                <a:cubicBezTo>
                  <a:pt x="4356389" y="5348683"/>
                  <a:pt x="4360994" y="5348683"/>
                  <a:pt x="4360994" y="5348683"/>
                </a:cubicBezTo>
                <a:cubicBezTo>
                  <a:pt x="4365600" y="5344077"/>
                  <a:pt x="4370206" y="5344077"/>
                  <a:pt x="4370206" y="5339471"/>
                </a:cubicBezTo>
                <a:cubicBezTo>
                  <a:pt x="4370206" y="5334866"/>
                  <a:pt x="4365600" y="5334865"/>
                  <a:pt x="4360994" y="5339471"/>
                </a:cubicBezTo>
                <a:cubicBezTo>
                  <a:pt x="4360994" y="5339471"/>
                  <a:pt x="4360994" y="5339471"/>
                  <a:pt x="4356388" y="5339471"/>
                </a:cubicBezTo>
                <a:cubicBezTo>
                  <a:pt x="4397840" y="5316443"/>
                  <a:pt x="4407051" y="5302626"/>
                  <a:pt x="4457714" y="5270386"/>
                </a:cubicBezTo>
                <a:cubicBezTo>
                  <a:pt x="4476137" y="5279597"/>
                  <a:pt x="4462320" y="5265780"/>
                  <a:pt x="4494560" y="5261175"/>
                </a:cubicBezTo>
                <a:cubicBezTo>
                  <a:pt x="4494560" y="5265780"/>
                  <a:pt x="4494560" y="5265780"/>
                  <a:pt x="4494560" y="5265780"/>
                </a:cubicBezTo>
                <a:cubicBezTo>
                  <a:pt x="4489954" y="5270386"/>
                  <a:pt x="4494561" y="5270386"/>
                  <a:pt x="4499167" y="5265780"/>
                </a:cubicBezTo>
                <a:cubicBezTo>
                  <a:pt x="4503772" y="5265780"/>
                  <a:pt x="4508377" y="5261175"/>
                  <a:pt x="4508377" y="5256569"/>
                </a:cubicBezTo>
                <a:cubicBezTo>
                  <a:pt x="4512983" y="5251963"/>
                  <a:pt x="4512983" y="5251963"/>
                  <a:pt x="4512983" y="5251963"/>
                </a:cubicBezTo>
                <a:cubicBezTo>
                  <a:pt x="4522194" y="5247358"/>
                  <a:pt x="4522194" y="5242752"/>
                  <a:pt x="4517589" y="5238146"/>
                </a:cubicBezTo>
                <a:cubicBezTo>
                  <a:pt x="4526800" y="5238145"/>
                  <a:pt x="4531406" y="5228934"/>
                  <a:pt x="4536012" y="5224329"/>
                </a:cubicBezTo>
                <a:cubicBezTo>
                  <a:pt x="4526800" y="5228935"/>
                  <a:pt x="4517589" y="5233540"/>
                  <a:pt x="4508377" y="5238146"/>
                </a:cubicBezTo>
                <a:cubicBezTo>
                  <a:pt x="4508377" y="5242752"/>
                  <a:pt x="4508377" y="5247358"/>
                  <a:pt x="4508377" y="5247358"/>
                </a:cubicBezTo>
                <a:cubicBezTo>
                  <a:pt x="4508377" y="5247358"/>
                  <a:pt x="4503772" y="5247357"/>
                  <a:pt x="4503772" y="5251963"/>
                </a:cubicBezTo>
                <a:cubicBezTo>
                  <a:pt x="4503772" y="5251963"/>
                  <a:pt x="4499166" y="5251963"/>
                  <a:pt x="4499166" y="5251963"/>
                </a:cubicBezTo>
                <a:cubicBezTo>
                  <a:pt x="4494560" y="5251962"/>
                  <a:pt x="4494560" y="5256569"/>
                  <a:pt x="4494560" y="5261175"/>
                </a:cubicBezTo>
                <a:cubicBezTo>
                  <a:pt x="4471531" y="5251963"/>
                  <a:pt x="4443897" y="5256569"/>
                  <a:pt x="4411657" y="5288809"/>
                </a:cubicBezTo>
                <a:cubicBezTo>
                  <a:pt x="4407051" y="5288809"/>
                  <a:pt x="4402446" y="5293415"/>
                  <a:pt x="4402446" y="5288809"/>
                </a:cubicBezTo>
                <a:cubicBezTo>
                  <a:pt x="4407051" y="5288809"/>
                  <a:pt x="4407052" y="5284203"/>
                  <a:pt x="4402446" y="5284203"/>
                </a:cubicBezTo>
                <a:cubicBezTo>
                  <a:pt x="4402446" y="5284203"/>
                  <a:pt x="4402446" y="5284203"/>
                  <a:pt x="4397840" y="5288809"/>
                </a:cubicBezTo>
                <a:cubicBezTo>
                  <a:pt x="4397840" y="5288809"/>
                  <a:pt x="4393234" y="5288809"/>
                  <a:pt x="4393234" y="5288809"/>
                </a:cubicBezTo>
                <a:cubicBezTo>
                  <a:pt x="4404749" y="5274991"/>
                  <a:pt x="4416263" y="5264629"/>
                  <a:pt x="4430080" y="5255992"/>
                </a:cubicBezTo>
                <a:lnTo>
                  <a:pt x="4476137" y="5235582"/>
                </a:lnTo>
                <a:lnTo>
                  <a:pt x="4476137" y="5238146"/>
                </a:lnTo>
                <a:cubicBezTo>
                  <a:pt x="4480744" y="5238146"/>
                  <a:pt x="4480744" y="5238146"/>
                  <a:pt x="4480743" y="5233540"/>
                </a:cubicBezTo>
                <a:cubicBezTo>
                  <a:pt x="4489954" y="5233540"/>
                  <a:pt x="4489954" y="5228935"/>
                  <a:pt x="4499166" y="5224329"/>
                </a:cubicBezTo>
                <a:cubicBezTo>
                  <a:pt x="4499166" y="5224329"/>
                  <a:pt x="4499167" y="5228935"/>
                  <a:pt x="4494560" y="5228935"/>
                </a:cubicBezTo>
                <a:cubicBezTo>
                  <a:pt x="4494560" y="5228935"/>
                  <a:pt x="4499167" y="5228935"/>
                  <a:pt x="4499167" y="5228935"/>
                </a:cubicBezTo>
                <a:cubicBezTo>
                  <a:pt x="4499167" y="5228935"/>
                  <a:pt x="4503773" y="5224329"/>
                  <a:pt x="4503773" y="5224329"/>
                </a:cubicBezTo>
                <a:cubicBezTo>
                  <a:pt x="4531406" y="5210512"/>
                  <a:pt x="4554434" y="5210512"/>
                  <a:pt x="4577463" y="5187484"/>
                </a:cubicBezTo>
                <a:cubicBezTo>
                  <a:pt x="4568252" y="5196695"/>
                  <a:pt x="4577463" y="5192089"/>
                  <a:pt x="4586675" y="5192089"/>
                </a:cubicBezTo>
                <a:cubicBezTo>
                  <a:pt x="4572858" y="5205906"/>
                  <a:pt x="4559040" y="5205906"/>
                  <a:pt x="4563647" y="5215118"/>
                </a:cubicBezTo>
                <a:cubicBezTo>
                  <a:pt x="4591280" y="5192089"/>
                  <a:pt x="4609703" y="5178272"/>
                  <a:pt x="4651155" y="5155244"/>
                </a:cubicBezTo>
                <a:cubicBezTo>
                  <a:pt x="4651155" y="5159849"/>
                  <a:pt x="4655761" y="5155244"/>
                  <a:pt x="4660366" y="5155244"/>
                </a:cubicBezTo>
                <a:cubicBezTo>
                  <a:pt x="4664973" y="5150638"/>
                  <a:pt x="4669578" y="5146032"/>
                  <a:pt x="4664972" y="5146032"/>
                </a:cubicBezTo>
                <a:cubicBezTo>
                  <a:pt x="4674183" y="5141427"/>
                  <a:pt x="4678790" y="5132215"/>
                  <a:pt x="4688001" y="5118398"/>
                </a:cubicBezTo>
                <a:cubicBezTo>
                  <a:pt x="4692606" y="5123004"/>
                  <a:pt x="4683395" y="5132215"/>
                  <a:pt x="4692607" y="5127610"/>
                </a:cubicBezTo>
                <a:cubicBezTo>
                  <a:pt x="4692606" y="5123004"/>
                  <a:pt x="4701818" y="5118398"/>
                  <a:pt x="4701818" y="5113792"/>
                </a:cubicBezTo>
                <a:cubicBezTo>
                  <a:pt x="4701818" y="5113792"/>
                  <a:pt x="4706425" y="5113792"/>
                  <a:pt x="4706424" y="5109187"/>
                </a:cubicBezTo>
                <a:cubicBezTo>
                  <a:pt x="4711029" y="5109187"/>
                  <a:pt x="4711029" y="5109187"/>
                  <a:pt x="4711029" y="5109187"/>
                </a:cubicBezTo>
                <a:cubicBezTo>
                  <a:pt x="4711030" y="5104581"/>
                  <a:pt x="4711030" y="5104581"/>
                  <a:pt x="4711030" y="5104581"/>
                </a:cubicBezTo>
                <a:cubicBezTo>
                  <a:pt x="4706424" y="5109187"/>
                  <a:pt x="4706424" y="5109187"/>
                  <a:pt x="4706424" y="5109187"/>
                </a:cubicBezTo>
                <a:cubicBezTo>
                  <a:pt x="4701818" y="5109187"/>
                  <a:pt x="4701818" y="5109187"/>
                  <a:pt x="4701818" y="5109187"/>
                </a:cubicBezTo>
                <a:cubicBezTo>
                  <a:pt x="4720241" y="5095370"/>
                  <a:pt x="4720241" y="5095370"/>
                  <a:pt x="4720241" y="5095370"/>
                </a:cubicBezTo>
                <a:cubicBezTo>
                  <a:pt x="4715635" y="5099975"/>
                  <a:pt x="4715635" y="5104581"/>
                  <a:pt x="4720241" y="5099975"/>
                </a:cubicBezTo>
                <a:cubicBezTo>
                  <a:pt x="4761692" y="5063130"/>
                  <a:pt x="4793932" y="5012467"/>
                  <a:pt x="4830779" y="4966410"/>
                </a:cubicBezTo>
                <a:cubicBezTo>
                  <a:pt x="4863018" y="4915748"/>
                  <a:pt x="4895258" y="4869691"/>
                  <a:pt x="4927498" y="4823634"/>
                </a:cubicBezTo>
                <a:cubicBezTo>
                  <a:pt x="4936711" y="4823634"/>
                  <a:pt x="4936710" y="4828240"/>
                  <a:pt x="4936710" y="4837451"/>
                </a:cubicBezTo>
                <a:cubicBezTo>
                  <a:pt x="4959738" y="4795999"/>
                  <a:pt x="4978162" y="4768366"/>
                  <a:pt x="4991978" y="4736126"/>
                </a:cubicBezTo>
                <a:cubicBezTo>
                  <a:pt x="5010401" y="4703885"/>
                  <a:pt x="5024218" y="4671646"/>
                  <a:pt x="5051853" y="4630195"/>
                </a:cubicBezTo>
                <a:cubicBezTo>
                  <a:pt x="5047247" y="4634800"/>
                  <a:pt x="5047247" y="4634800"/>
                  <a:pt x="5051853" y="4634799"/>
                </a:cubicBezTo>
                <a:cubicBezTo>
                  <a:pt x="5051853" y="4634799"/>
                  <a:pt x="5056460" y="4634800"/>
                  <a:pt x="5061064" y="4630195"/>
                </a:cubicBezTo>
                <a:cubicBezTo>
                  <a:pt x="5065670" y="4630194"/>
                  <a:pt x="5065670" y="4630194"/>
                  <a:pt x="5065670" y="4630194"/>
                </a:cubicBezTo>
                <a:cubicBezTo>
                  <a:pt x="5070276" y="4620983"/>
                  <a:pt x="5079487" y="4611772"/>
                  <a:pt x="5074881" y="4607166"/>
                </a:cubicBezTo>
                <a:cubicBezTo>
                  <a:pt x="5079487" y="4607166"/>
                  <a:pt x="5084093" y="4602561"/>
                  <a:pt x="5084093" y="4597955"/>
                </a:cubicBezTo>
                <a:cubicBezTo>
                  <a:pt x="5088699" y="4593349"/>
                  <a:pt x="5084093" y="4593348"/>
                  <a:pt x="5084093" y="4593348"/>
                </a:cubicBezTo>
                <a:cubicBezTo>
                  <a:pt x="5079487" y="4593349"/>
                  <a:pt x="5079487" y="4593349"/>
                  <a:pt x="5079487" y="4593349"/>
                </a:cubicBezTo>
                <a:cubicBezTo>
                  <a:pt x="5097910" y="4570321"/>
                  <a:pt x="5097910" y="4556504"/>
                  <a:pt x="5116333" y="4533475"/>
                </a:cubicBezTo>
                <a:cubicBezTo>
                  <a:pt x="5102516" y="4533475"/>
                  <a:pt x="5116333" y="4524264"/>
                  <a:pt x="5116333" y="4519658"/>
                </a:cubicBezTo>
                <a:close/>
                <a:moveTo>
                  <a:pt x="5237163" y="4192915"/>
                </a:moveTo>
                <a:lnTo>
                  <a:pt x="5237233" y="4193230"/>
                </a:lnTo>
                <a:cubicBezTo>
                  <a:pt x="5236082" y="4196108"/>
                  <a:pt x="5233779" y="4199562"/>
                  <a:pt x="5231476" y="4201864"/>
                </a:cubicBezTo>
                <a:close/>
                <a:moveTo>
                  <a:pt x="5342014" y="4155808"/>
                </a:moveTo>
                <a:cubicBezTo>
                  <a:pt x="5346619" y="4160413"/>
                  <a:pt x="5342013" y="4165020"/>
                  <a:pt x="5337408" y="4160414"/>
                </a:cubicBezTo>
                <a:cubicBezTo>
                  <a:pt x="5342013" y="4160414"/>
                  <a:pt x="5342013" y="4160414"/>
                  <a:pt x="5342014" y="4155808"/>
                </a:cubicBezTo>
                <a:close/>
                <a:moveTo>
                  <a:pt x="5306843" y="4097190"/>
                </a:moveTo>
                <a:lnTo>
                  <a:pt x="5305168" y="4100540"/>
                </a:lnTo>
                <a:cubicBezTo>
                  <a:pt x="5305168" y="4105145"/>
                  <a:pt x="5305168" y="4105145"/>
                  <a:pt x="5305168" y="4105145"/>
                </a:cubicBezTo>
                <a:cubicBezTo>
                  <a:pt x="5305168" y="4105145"/>
                  <a:pt x="5305168" y="4105145"/>
                  <a:pt x="5300562" y="4109751"/>
                </a:cubicBezTo>
                <a:cubicBezTo>
                  <a:pt x="5300562" y="4105146"/>
                  <a:pt x="5305168" y="4100540"/>
                  <a:pt x="5300562" y="4100539"/>
                </a:cubicBezTo>
                <a:close/>
                <a:moveTo>
                  <a:pt x="5312515" y="4088587"/>
                </a:moveTo>
                <a:lnTo>
                  <a:pt x="5308118" y="4096510"/>
                </a:lnTo>
                <a:lnTo>
                  <a:pt x="5306843" y="4097190"/>
                </a:lnTo>
                <a:lnTo>
                  <a:pt x="5309774" y="4091329"/>
                </a:lnTo>
                <a:close/>
                <a:moveTo>
                  <a:pt x="5319784" y="4072905"/>
                </a:moveTo>
                <a:lnTo>
                  <a:pt x="5323591" y="4072906"/>
                </a:lnTo>
                <a:cubicBezTo>
                  <a:pt x="5318986" y="4077512"/>
                  <a:pt x="5314379" y="4082116"/>
                  <a:pt x="5314379" y="4086723"/>
                </a:cubicBezTo>
                <a:lnTo>
                  <a:pt x="5312515" y="4088587"/>
                </a:lnTo>
                <a:lnTo>
                  <a:pt x="5316106" y="4082116"/>
                </a:lnTo>
                <a:close/>
                <a:moveTo>
                  <a:pt x="5322699" y="4065600"/>
                </a:moveTo>
                <a:lnTo>
                  <a:pt x="5319784" y="4072905"/>
                </a:lnTo>
                <a:lnTo>
                  <a:pt x="5318985" y="4072906"/>
                </a:lnTo>
                <a:close/>
                <a:moveTo>
                  <a:pt x="4981290" y="4036063"/>
                </a:moveTo>
                <a:lnTo>
                  <a:pt x="4971550" y="4040500"/>
                </a:lnTo>
                <a:lnTo>
                  <a:pt x="4967006" y="4053515"/>
                </a:lnTo>
                <a:cubicBezTo>
                  <a:pt x="4967006" y="4049758"/>
                  <a:pt x="4967006" y="4049758"/>
                  <a:pt x="4967006" y="4049758"/>
                </a:cubicBezTo>
                <a:cubicBezTo>
                  <a:pt x="4967006" y="4049758"/>
                  <a:pt x="4963246" y="4053515"/>
                  <a:pt x="4963246" y="4057273"/>
                </a:cubicBezTo>
                <a:cubicBezTo>
                  <a:pt x="4959486" y="4057272"/>
                  <a:pt x="4959486" y="4061029"/>
                  <a:pt x="4959486" y="4061029"/>
                </a:cubicBezTo>
                <a:cubicBezTo>
                  <a:pt x="4940684" y="4098603"/>
                  <a:pt x="4918122" y="4128661"/>
                  <a:pt x="4891800" y="4147448"/>
                </a:cubicBezTo>
                <a:cubicBezTo>
                  <a:pt x="4895560" y="4147447"/>
                  <a:pt x="4895560" y="4143690"/>
                  <a:pt x="4895560" y="4143690"/>
                </a:cubicBezTo>
                <a:cubicBezTo>
                  <a:pt x="4895560" y="4139933"/>
                  <a:pt x="4895560" y="4139933"/>
                  <a:pt x="4891800" y="4139933"/>
                </a:cubicBezTo>
                <a:cubicBezTo>
                  <a:pt x="4891800" y="4139933"/>
                  <a:pt x="4891800" y="4143690"/>
                  <a:pt x="4891800" y="4143690"/>
                </a:cubicBezTo>
                <a:cubicBezTo>
                  <a:pt x="4891800" y="4143690"/>
                  <a:pt x="4891800" y="4143690"/>
                  <a:pt x="4891800" y="4147448"/>
                </a:cubicBezTo>
                <a:cubicBezTo>
                  <a:pt x="4888039" y="4147448"/>
                  <a:pt x="4888039" y="4151205"/>
                  <a:pt x="4888039" y="4151205"/>
                </a:cubicBezTo>
                <a:cubicBezTo>
                  <a:pt x="4884279" y="4147447"/>
                  <a:pt x="4876758" y="4158719"/>
                  <a:pt x="4869238" y="4169991"/>
                </a:cubicBezTo>
                <a:cubicBezTo>
                  <a:pt x="4872998" y="4173749"/>
                  <a:pt x="4876758" y="4166234"/>
                  <a:pt x="4876758" y="4166234"/>
                </a:cubicBezTo>
                <a:cubicBezTo>
                  <a:pt x="4876758" y="4169991"/>
                  <a:pt x="4876758" y="4169991"/>
                  <a:pt x="4876758" y="4169991"/>
                </a:cubicBezTo>
                <a:cubicBezTo>
                  <a:pt x="4876758" y="4173749"/>
                  <a:pt x="4876758" y="4173749"/>
                  <a:pt x="4876758" y="4173749"/>
                </a:cubicBezTo>
                <a:cubicBezTo>
                  <a:pt x="4876758" y="4173749"/>
                  <a:pt x="4880519" y="4169990"/>
                  <a:pt x="4880519" y="4169990"/>
                </a:cubicBezTo>
                <a:cubicBezTo>
                  <a:pt x="4872998" y="4181263"/>
                  <a:pt x="4876758" y="4181262"/>
                  <a:pt x="4865477" y="4196292"/>
                </a:cubicBezTo>
                <a:cubicBezTo>
                  <a:pt x="4865477" y="4192535"/>
                  <a:pt x="4865477" y="4192535"/>
                  <a:pt x="4865477" y="4192535"/>
                </a:cubicBezTo>
                <a:cubicBezTo>
                  <a:pt x="4865477" y="4192535"/>
                  <a:pt x="4865477" y="4192535"/>
                  <a:pt x="4869238" y="4188778"/>
                </a:cubicBezTo>
                <a:cubicBezTo>
                  <a:pt x="4869238" y="4185021"/>
                  <a:pt x="4869238" y="4185021"/>
                  <a:pt x="4869238" y="4185021"/>
                </a:cubicBezTo>
                <a:cubicBezTo>
                  <a:pt x="4865477" y="4185020"/>
                  <a:pt x="4861717" y="4188778"/>
                  <a:pt x="4861717" y="4192535"/>
                </a:cubicBezTo>
                <a:cubicBezTo>
                  <a:pt x="4861717" y="4192535"/>
                  <a:pt x="4857957" y="4192535"/>
                  <a:pt x="4857957" y="4196292"/>
                </a:cubicBezTo>
                <a:cubicBezTo>
                  <a:pt x="4850436" y="4196292"/>
                  <a:pt x="4839155" y="4207563"/>
                  <a:pt x="4824114" y="4222593"/>
                </a:cubicBezTo>
                <a:cubicBezTo>
                  <a:pt x="4818474" y="4230107"/>
                  <a:pt x="4812833" y="4238562"/>
                  <a:pt x="4808133" y="4246546"/>
                </a:cubicBezTo>
                <a:lnTo>
                  <a:pt x="4803807" y="4255386"/>
                </a:lnTo>
                <a:lnTo>
                  <a:pt x="4803348" y="4274363"/>
                </a:lnTo>
                <a:cubicBezTo>
                  <a:pt x="4800382" y="4284556"/>
                  <a:pt x="4794875" y="4293232"/>
                  <a:pt x="4787261" y="4299991"/>
                </a:cubicBezTo>
                <a:lnTo>
                  <a:pt x="4766361" y="4320748"/>
                </a:lnTo>
                <a:lnTo>
                  <a:pt x="4765297" y="4321963"/>
                </a:lnTo>
                <a:lnTo>
                  <a:pt x="4773039" y="4336389"/>
                </a:lnTo>
                <a:lnTo>
                  <a:pt x="4824114" y="4271438"/>
                </a:lnTo>
                <a:cubicBezTo>
                  <a:pt x="4839155" y="4256408"/>
                  <a:pt x="4861717" y="4230108"/>
                  <a:pt x="4880519" y="4200050"/>
                </a:cubicBezTo>
                <a:cubicBezTo>
                  <a:pt x="4903081" y="4173749"/>
                  <a:pt x="4918122" y="4143689"/>
                  <a:pt x="4925643" y="4124904"/>
                </a:cubicBezTo>
                <a:cubicBezTo>
                  <a:pt x="4940684" y="4106117"/>
                  <a:pt x="4955725" y="4083574"/>
                  <a:pt x="4963246" y="4064787"/>
                </a:cubicBezTo>
                <a:cubicBezTo>
                  <a:pt x="4963246" y="4064787"/>
                  <a:pt x="4967006" y="4064786"/>
                  <a:pt x="4967006" y="4061029"/>
                </a:cubicBezTo>
                <a:cubicBezTo>
                  <a:pt x="4970767" y="4057272"/>
                  <a:pt x="4970767" y="4057272"/>
                  <a:pt x="4970767" y="4053514"/>
                </a:cubicBezTo>
                <a:close/>
                <a:moveTo>
                  <a:pt x="545930" y="4023021"/>
                </a:moveTo>
                <a:lnTo>
                  <a:pt x="598786" y="4152462"/>
                </a:lnTo>
                <a:lnTo>
                  <a:pt x="601360" y="4155129"/>
                </a:lnTo>
                <a:lnTo>
                  <a:pt x="616108" y="4179406"/>
                </a:lnTo>
                <a:lnTo>
                  <a:pt x="609272" y="4164659"/>
                </a:lnTo>
                <a:lnTo>
                  <a:pt x="574734" y="4069724"/>
                </a:lnTo>
                <a:close/>
                <a:moveTo>
                  <a:pt x="4977355" y="4003833"/>
                </a:moveTo>
                <a:lnTo>
                  <a:pt x="4970767" y="4019700"/>
                </a:lnTo>
                <a:lnTo>
                  <a:pt x="4974527" y="4014576"/>
                </a:lnTo>
                <a:lnTo>
                  <a:pt x="4974527" y="4015943"/>
                </a:lnTo>
                <a:cubicBezTo>
                  <a:pt x="4970767" y="4019700"/>
                  <a:pt x="4970767" y="4019700"/>
                  <a:pt x="4970767" y="4023457"/>
                </a:cubicBezTo>
                <a:lnTo>
                  <a:pt x="4973146" y="4023457"/>
                </a:lnTo>
                <a:lnTo>
                  <a:pt x="4975267" y="4013568"/>
                </a:lnTo>
                <a:lnTo>
                  <a:pt x="4974527" y="4014576"/>
                </a:lnTo>
                <a:lnTo>
                  <a:pt x="4974527" y="4012185"/>
                </a:lnTo>
                <a:lnTo>
                  <a:pt x="4975846" y="4010867"/>
                </a:lnTo>
                <a:close/>
                <a:moveTo>
                  <a:pt x="5034971" y="3938593"/>
                </a:moveTo>
                <a:lnTo>
                  <a:pt x="5002699" y="4000558"/>
                </a:lnTo>
                <a:lnTo>
                  <a:pt x="5016361" y="3977900"/>
                </a:lnTo>
                <a:close/>
                <a:moveTo>
                  <a:pt x="5443975" y="3887407"/>
                </a:moveTo>
                <a:lnTo>
                  <a:pt x="5443339" y="3897888"/>
                </a:lnTo>
                <a:cubicBezTo>
                  <a:pt x="5443339" y="3897888"/>
                  <a:pt x="5443339" y="3897888"/>
                  <a:pt x="5443339" y="3893284"/>
                </a:cubicBezTo>
                <a:cubicBezTo>
                  <a:pt x="5443339" y="3888678"/>
                  <a:pt x="5443339" y="3888678"/>
                  <a:pt x="5443339" y="3888678"/>
                </a:cubicBezTo>
                <a:close/>
                <a:moveTo>
                  <a:pt x="5094858" y="3865651"/>
                </a:moveTo>
                <a:lnTo>
                  <a:pt x="5095798" y="3865651"/>
                </a:lnTo>
                <a:lnTo>
                  <a:pt x="5094859" y="3869408"/>
                </a:lnTo>
                <a:cubicBezTo>
                  <a:pt x="5094859" y="3869408"/>
                  <a:pt x="5094859" y="3869408"/>
                  <a:pt x="5094858" y="3865651"/>
                </a:cubicBezTo>
                <a:close/>
                <a:moveTo>
                  <a:pt x="5086263" y="3834519"/>
                </a:moveTo>
                <a:lnTo>
                  <a:pt x="5077511" y="3856911"/>
                </a:lnTo>
                <a:lnTo>
                  <a:pt x="5055074" y="3899992"/>
                </a:lnTo>
                <a:lnTo>
                  <a:pt x="5061955" y="3902284"/>
                </a:lnTo>
                <a:cubicBezTo>
                  <a:pt x="5062895" y="3905102"/>
                  <a:pt x="5062896" y="3908860"/>
                  <a:pt x="5064776" y="3910738"/>
                </a:cubicBezTo>
                <a:cubicBezTo>
                  <a:pt x="5072296" y="3906981"/>
                  <a:pt x="5076057" y="3899466"/>
                  <a:pt x="5083577" y="3891952"/>
                </a:cubicBezTo>
                <a:cubicBezTo>
                  <a:pt x="5079817" y="3895708"/>
                  <a:pt x="5079818" y="3899465"/>
                  <a:pt x="5079818" y="3899465"/>
                </a:cubicBezTo>
                <a:cubicBezTo>
                  <a:pt x="5076056" y="3903224"/>
                  <a:pt x="5076056" y="3903224"/>
                  <a:pt x="5076056" y="3906981"/>
                </a:cubicBezTo>
                <a:cubicBezTo>
                  <a:pt x="5079817" y="3906980"/>
                  <a:pt x="5079817" y="3903223"/>
                  <a:pt x="5079817" y="3903223"/>
                </a:cubicBezTo>
                <a:cubicBezTo>
                  <a:pt x="5083577" y="3899466"/>
                  <a:pt x="5083577" y="3895709"/>
                  <a:pt x="5083577" y="3895709"/>
                </a:cubicBezTo>
                <a:cubicBezTo>
                  <a:pt x="5083577" y="3895709"/>
                  <a:pt x="5087337" y="3891952"/>
                  <a:pt x="5087337" y="3891952"/>
                </a:cubicBezTo>
                <a:cubicBezTo>
                  <a:pt x="5091098" y="3884437"/>
                  <a:pt x="5094858" y="3876922"/>
                  <a:pt x="5098618" y="3873165"/>
                </a:cubicBezTo>
                <a:cubicBezTo>
                  <a:pt x="5098618" y="3873165"/>
                  <a:pt x="5098618" y="3873165"/>
                  <a:pt x="5098618" y="3869408"/>
                </a:cubicBezTo>
                <a:cubicBezTo>
                  <a:pt x="5098618" y="3869408"/>
                  <a:pt x="5098618" y="3865651"/>
                  <a:pt x="5098618" y="3865651"/>
                </a:cubicBezTo>
                <a:lnTo>
                  <a:pt x="5095798" y="3865651"/>
                </a:lnTo>
                <a:lnTo>
                  <a:pt x="5096738" y="3861893"/>
                </a:lnTo>
                <a:cubicBezTo>
                  <a:pt x="5096738" y="3860015"/>
                  <a:pt x="5096738" y="3858135"/>
                  <a:pt x="5098619" y="3854378"/>
                </a:cubicBezTo>
                <a:cubicBezTo>
                  <a:pt x="5094858" y="3843107"/>
                  <a:pt x="5087338" y="3865650"/>
                  <a:pt x="5079817" y="3865651"/>
                </a:cubicBezTo>
                <a:cubicBezTo>
                  <a:pt x="5087338" y="3846864"/>
                  <a:pt x="5083577" y="3843107"/>
                  <a:pt x="5087337" y="3835593"/>
                </a:cubicBezTo>
                <a:close/>
                <a:moveTo>
                  <a:pt x="5087338" y="3831769"/>
                </a:moveTo>
                <a:lnTo>
                  <a:pt x="5087312" y="3831835"/>
                </a:lnTo>
                <a:lnTo>
                  <a:pt x="5087338" y="3831835"/>
                </a:lnTo>
                <a:close/>
                <a:moveTo>
                  <a:pt x="5111256" y="3770575"/>
                </a:moveTo>
                <a:lnTo>
                  <a:pt x="5101814" y="3794734"/>
                </a:lnTo>
                <a:lnTo>
                  <a:pt x="5107079" y="3785338"/>
                </a:lnTo>
                <a:cubicBezTo>
                  <a:pt x="5109430" y="3780407"/>
                  <a:pt x="5111075" y="3776062"/>
                  <a:pt x="5111662" y="3772481"/>
                </a:cubicBezTo>
                <a:close/>
                <a:moveTo>
                  <a:pt x="5166304" y="3610155"/>
                </a:moveTo>
                <a:lnTo>
                  <a:pt x="5164875" y="3613317"/>
                </a:lnTo>
                <a:lnTo>
                  <a:pt x="5144504" y="3685511"/>
                </a:lnTo>
                <a:lnTo>
                  <a:pt x="5126538" y="3731477"/>
                </a:lnTo>
                <a:lnTo>
                  <a:pt x="5130581" y="3727100"/>
                </a:lnTo>
                <a:cubicBezTo>
                  <a:pt x="5136222" y="3717238"/>
                  <a:pt x="5141862" y="3704087"/>
                  <a:pt x="5147503" y="3689057"/>
                </a:cubicBezTo>
                <a:cubicBezTo>
                  <a:pt x="5158784" y="3659000"/>
                  <a:pt x="5162544" y="3628941"/>
                  <a:pt x="5166304" y="3610155"/>
                </a:cubicBezTo>
                <a:close/>
                <a:moveTo>
                  <a:pt x="5563088" y="3368234"/>
                </a:moveTo>
                <a:cubicBezTo>
                  <a:pt x="5563088" y="3368234"/>
                  <a:pt x="5563088" y="3368234"/>
                  <a:pt x="5563088" y="3372841"/>
                </a:cubicBezTo>
                <a:lnTo>
                  <a:pt x="5562808" y="3372560"/>
                </a:lnTo>
                <a:close/>
                <a:moveTo>
                  <a:pt x="5558482" y="3363628"/>
                </a:moveTo>
                <a:lnTo>
                  <a:pt x="5558699" y="3363629"/>
                </a:lnTo>
                <a:lnTo>
                  <a:pt x="5558482" y="3368235"/>
                </a:lnTo>
                <a:cubicBezTo>
                  <a:pt x="5558482" y="3368235"/>
                  <a:pt x="5558482" y="3368235"/>
                  <a:pt x="5558482" y="3363628"/>
                </a:cubicBezTo>
                <a:close/>
                <a:moveTo>
                  <a:pt x="5549271" y="3147162"/>
                </a:moveTo>
                <a:cubicBezTo>
                  <a:pt x="5549271" y="3151767"/>
                  <a:pt x="5553877" y="3151767"/>
                  <a:pt x="5553877" y="3151767"/>
                </a:cubicBezTo>
                <a:cubicBezTo>
                  <a:pt x="5549271" y="3151767"/>
                  <a:pt x="5549271" y="3151767"/>
                  <a:pt x="5549271" y="3151767"/>
                </a:cubicBezTo>
                <a:cubicBezTo>
                  <a:pt x="5549271" y="3147162"/>
                  <a:pt x="5549271" y="3147162"/>
                  <a:pt x="5549271" y="3147162"/>
                </a:cubicBezTo>
                <a:close/>
                <a:moveTo>
                  <a:pt x="5558482" y="3096499"/>
                </a:moveTo>
                <a:cubicBezTo>
                  <a:pt x="5558482" y="3133345"/>
                  <a:pt x="5558482" y="3147162"/>
                  <a:pt x="5563088" y="3179401"/>
                </a:cubicBezTo>
                <a:cubicBezTo>
                  <a:pt x="5572300" y="3174796"/>
                  <a:pt x="5576905" y="3193219"/>
                  <a:pt x="5576905" y="3216247"/>
                </a:cubicBezTo>
                <a:cubicBezTo>
                  <a:pt x="5576904" y="3239275"/>
                  <a:pt x="5576905" y="3262303"/>
                  <a:pt x="5581511" y="3262304"/>
                </a:cubicBezTo>
                <a:cubicBezTo>
                  <a:pt x="5586117" y="3285332"/>
                  <a:pt x="5576905" y="3317572"/>
                  <a:pt x="5572300" y="3340601"/>
                </a:cubicBezTo>
                <a:cubicBezTo>
                  <a:pt x="5572300" y="3335994"/>
                  <a:pt x="5572300" y="3335994"/>
                  <a:pt x="5567693" y="3335995"/>
                </a:cubicBezTo>
                <a:cubicBezTo>
                  <a:pt x="5567693" y="3335995"/>
                  <a:pt x="5567694" y="3340601"/>
                  <a:pt x="5567694" y="3340601"/>
                </a:cubicBezTo>
                <a:cubicBezTo>
                  <a:pt x="5563088" y="3359023"/>
                  <a:pt x="5563088" y="3359023"/>
                  <a:pt x="5563088" y="3359023"/>
                </a:cubicBezTo>
                <a:cubicBezTo>
                  <a:pt x="5563088" y="3363629"/>
                  <a:pt x="5563088" y="3363629"/>
                  <a:pt x="5563088" y="3363629"/>
                </a:cubicBezTo>
                <a:lnTo>
                  <a:pt x="5558699" y="3363629"/>
                </a:lnTo>
                <a:lnTo>
                  <a:pt x="5559058" y="3356073"/>
                </a:lnTo>
                <a:cubicBezTo>
                  <a:pt x="5557331" y="3348085"/>
                  <a:pt x="5550422" y="3349811"/>
                  <a:pt x="5553877" y="3335994"/>
                </a:cubicBezTo>
                <a:cubicBezTo>
                  <a:pt x="5558482" y="3335994"/>
                  <a:pt x="5558482" y="3335994"/>
                  <a:pt x="5558482" y="3331389"/>
                </a:cubicBezTo>
                <a:cubicBezTo>
                  <a:pt x="5558482" y="3326784"/>
                  <a:pt x="5558482" y="3326784"/>
                  <a:pt x="5558482" y="3326784"/>
                </a:cubicBezTo>
                <a:cubicBezTo>
                  <a:pt x="5563088" y="3326784"/>
                  <a:pt x="5563088" y="3326784"/>
                  <a:pt x="5563088" y="3322178"/>
                </a:cubicBezTo>
                <a:cubicBezTo>
                  <a:pt x="5563088" y="3322178"/>
                  <a:pt x="5563088" y="3322178"/>
                  <a:pt x="5563088" y="3317572"/>
                </a:cubicBezTo>
                <a:cubicBezTo>
                  <a:pt x="5558482" y="3317572"/>
                  <a:pt x="5558482" y="3322178"/>
                  <a:pt x="5558482" y="3317572"/>
                </a:cubicBezTo>
                <a:cubicBezTo>
                  <a:pt x="5558482" y="3303755"/>
                  <a:pt x="5563088" y="3289937"/>
                  <a:pt x="5553877" y="3280727"/>
                </a:cubicBezTo>
                <a:cubicBezTo>
                  <a:pt x="5558482" y="3285331"/>
                  <a:pt x="5558482" y="3285331"/>
                  <a:pt x="5558482" y="3280727"/>
                </a:cubicBezTo>
                <a:cubicBezTo>
                  <a:pt x="5563088" y="3276120"/>
                  <a:pt x="5558482" y="3271514"/>
                  <a:pt x="5558482" y="3271514"/>
                </a:cubicBezTo>
                <a:cubicBezTo>
                  <a:pt x="5558482" y="3271514"/>
                  <a:pt x="5558482" y="3271514"/>
                  <a:pt x="5558482" y="3266910"/>
                </a:cubicBezTo>
                <a:cubicBezTo>
                  <a:pt x="5567694" y="3253093"/>
                  <a:pt x="5553877" y="3239275"/>
                  <a:pt x="5563088" y="3220853"/>
                </a:cubicBezTo>
                <a:cubicBezTo>
                  <a:pt x="5558482" y="3220852"/>
                  <a:pt x="5558482" y="3220852"/>
                  <a:pt x="5558482" y="3220852"/>
                </a:cubicBezTo>
                <a:cubicBezTo>
                  <a:pt x="5563088" y="3220853"/>
                  <a:pt x="5563088" y="3216247"/>
                  <a:pt x="5563088" y="3216247"/>
                </a:cubicBezTo>
                <a:cubicBezTo>
                  <a:pt x="5563088" y="3211640"/>
                  <a:pt x="5563088" y="3211640"/>
                  <a:pt x="5558481" y="3211641"/>
                </a:cubicBezTo>
                <a:cubicBezTo>
                  <a:pt x="5558482" y="3197824"/>
                  <a:pt x="5558482" y="3184007"/>
                  <a:pt x="5558482" y="3184007"/>
                </a:cubicBezTo>
                <a:cubicBezTo>
                  <a:pt x="5558482" y="3170189"/>
                  <a:pt x="5553877" y="3193218"/>
                  <a:pt x="5553877" y="3170190"/>
                </a:cubicBezTo>
                <a:cubicBezTo>
                  <a:pt x="5558482" y="3174796"/>
                  <a:pt x="5563088" y="3170189"/>
                  <a:pt x="5558482" y="3165584"/>
                </a:cubicBezTo>
                <a:cubicBezTo>
                  <a:pt x="5553877" y="3160979"/>
                  <a:pt x="5549271" y="3184007"/>
                  <a:pt x="5549271" y="3160978"/>
                </a:cubicBezTo>
                <a:cubicBezTo>
                  <a:pt x="5549271" y="3160978"/>
                  <a:pt x="5549271" y="3160978"/>
                  <a:pt x="5553877" y="3160979"/>
                </a:cubicBezTo>
                <a:cubicBezTo>
                  <a:pt x="5553877" y="3160979"/>
                  <a:pt x="5553877" y="3160979"/>
                  <a:pt x="5553877" y="3156373"/>
                </a:cubicBezTo>
                <a:cubicBezTo>
                  <a:pt x="5553877" y="3156373"/>
                  <a:pt x="5553877" y="3151767"/>
                  <a:pt x="5553877" y="3151767"/>
                </a:cubicBezTo>
                <a:cubicBezTo>
                  <a:pt x="5553876" y="3147162"/>
                  <a:pt x="5553876" y="3147162"/>
                  <a:pt x="5553876" y="3147162"/>
                </a:cubicBezTo>
                <a:cubicBezTo>
                  <a:pt x="5553877" y="3142555"/>
                  <a:pt x="5553877" y="3142555"/>
                  <a:pt x="5553877" y="3142555"/>
                </a:cubicBezTo>
                <a:cubicBezTo>
                  <a:pt x="5558482" y="3142555"/>
                  <a:pt x="5558482" y="3137950"/>
                  <a:pt x="5558482" y="3133345"/>
                </a:cubicBezTo>
                <a:cubicBezTo>
                  <a:pt x="5553877" y="3133345"/>
                  <a:pt x="5553877" y="3128738"/>
                  <a:pt x="5553877" y="3124133"/>
                </a:cubicBezTo>
                <a:cubicBezTo>
                  <a:pt x="5558482" y="3119527"/>
                  <a:pt x="5558482" y="3105710"/>
                  <a:pt x="5558482" y="3096499"/>
                </a:cubicBezTo>
                <a:close/>
                <a:moveTo>
                  <a:pt x="5068728" y="3006335"/>
                </a:moveTo>
                <a:cubicBezTo>
                  <a:pt x="5055047" y="3008859"/>
                  <a:pt x="5059106" y="3021840"/>
                  <a:pt x="5058833" y="3029380"/>
                </a:cubicBezTo>
                <a:cubicBezTo>
                  <a:pt x="5057558" y="3189382"/>
                  <a:pt x="5033801" y="3344796"/>
                  <a:pt x="5000270" y="3499100"/>
                </a:cubicBezTo>
                <a:cubicBezTo>
                  <a:pt x="4999297" y="3505105"/>
                  <a:pt x="4998324" y="3511109"/>
                  <a:pt x="4997351" y="3517113"/>
                </a:cubicBezTo>
                <a:cubicBezTo>
                  <a:pt x="4995543" y="3525352"/>
                  <a:pt x="4990800" y="3531220"/>
                  <a:pt x="4981162" y="3526341"/>
                </a:cubicBezTo>
                <a:cubicBezTo>
                  <a:pt x="4969153" y="3524397"/>
                  <a:pt x="4971661" y="3517693"/>
                  <a:pt x="4973470" y="3509454"/>
                </a:cubicBezTo>
                <a:cubicBezTo>
                  <a:pt x="4981929" y="3479185"/>
                  <a:pt x="4988608" y="3448568"/>
                  <a:pt x="4994080" y="3417719"/>
                </a:cubicBezTo>
                <a:lnTo>
                  <a:pt x="4999041" y="3383157"/>
                </a:lnTo>
                <a:lnTo>
                  <a:pt x="4959247" y="3530345"/>
                </a:lnTo>
                <a:cubicBezTo>
                  <a:pt x="4879751" y="3765262"/>
                  <a:pt x="4758264" y="3980821"/>
                  <a:pt x="4603718" y="4168087"/>
                </a:cubicBezTo>
                <a:lnTo>
                  <a:pt x="4567122" y="4208352"/>
                </a:lnTo>
                <a:lnTo>
                  <a:pt x="4565188" y="4210970"/>
                </a:lnTo>
                <a:lnTo>
                  <a:pt x="4548960" y="4239107"/>
                </a:lnTo>
                <a:lnTo>
                  <a:pt x="4482714" y="4307523"/>
                </a:lnTo>
                <a:lnTo>
                  <a:pt x="4381549" y="4420470"/>
                </a:lnTo>
                <a:cubicBezTo>
                  <a:pt x="4266151" y="4536988"/>
                  <a:pt x="4139313" y="4641106"/>
                  <a:pt x="3998990" y="4731903"/>
                </a:cubicBezTo>
                <a:cubicBezTo>
                  <a:pt x="4054186" y="4698419"/>
                  <a:pt x="4109111" y="4664596"/>
                  <a:pt x="4162929" y="4629423"/>
                </a:cubicBezTo>
                <a:lnTo>
                  <a:pt x="4314038" y="4523195"/>
                </a:lnTo>
                <a:lnTo>
                  <a:pt x="4461229" y="4385990"/>
                </a:lnTo>
                <a:cubicBezTo>
                  <a:pt x="4487721" y="4357474"/>
                  <a:pt x="4516816" y="4331061"/>
                  <a:pt x="4543929" y="4303907"/>
                </a:cubicBezTo>
                <a:cubicBezTo>
                  <a:pt x="4546034" y="4301303"/>
                  <a:pt x="4547672" y="4297678"/>
                  <a:pt x="4549932" y="4295415"/>
                </a:cubicBezTo>
                <a:lnTo>
                  <a:pt x="4553788" y="4295289"/>
                </a:lnTo>
                <a:lnTo>
                  <a:pt x="4594816" y="4249177"/>
                </a:lnTo>
                <a:lnTo>
                  <a:pt x="4560743" y="4296407"/>
                </a:lnTo>
                <a:lnTo>
                  <a:pt x="4566959" y="4303903"/>
                </a:lnTo>
                <a:cubicBezTo>
                  <a:pt x="4567751" y="4307449"/>
                  <a:pt x="4567104" y="4311445"/>
                  <a:pt x="4565620" y="4315411"/>
                </a:cubicBezTo>
                <a:cubicBezTo>
                  <a:pt x="4558943" y="4333257"/>
                  <a:pt x="4547680" y="4348257"/>
                  <a:pt x="4534555" y="4359170"/>
                </a:cubicBezTo>
                <a:cubicBezTo>
                  <a:pt x="4497784" y="4394014"/>
                  <a:pt x="4462595" y="4431427"/>
                  <a:pt x="4425298" y="4466921"/>
                </a:cubicBezTo>
                <a:lnTo>
                  <a:pt x="4375776" y="4510682"/>
                </a:lnTo>
                <a:lnTo>
                  <a:pt x="4374550" y="4511943"/>
                </a:lnTo>
                <a:lnTo>
                  <a:pt x="4371382" y="4514565"/>
                </a:lnTo>
                <a:lnTo>
                  <a:pt x="4367311" y="4518163"/>
                </a:lnTo>
                <a:lnTo>
                  <a:pt x="4365470" y="4519459"/>
                </a:lnTo>
                <a:lnTo>
                  <a:pt x="4309464" y="4565818"/>
                </a:lnTo>
                <a:lnTo>
                  <a:pt x="4313091" y="4567406"/>
                </a:lnTo>
                <a:cubicBezTo>
                  <a:pt x="4316311" y="4567815"/>
                  <a:pt x="4319528" y="4567429"/>
                  <a:pt x="4322772" y="4566877"/>
                </a:cubicBezTo>
                <a:lnTo>
                  <a:pt x="4327321" y="4566813"/>
                </a:lnTo>
                <a:lnTo>
                  <a:pt x="4408688" y="4507942"/>
                </a:lnTo>
                <a:lnTo>
                  <a:pt x="4577446" y="4352526"/>
                </a:lnTo>
                <a:lnTo>
                  <a:pt x="4596277" y="4333784"/>
                </a:lnTo>
                <a:cubicBezTo>
                  <a:pt x="4600601" y="4329033"/>
                  <a:pt x="4604577" y="4323515"/>
                  <a:pt x="4609844" y="4318799"/>
                </a:cubicBezTo>
                <a:lnTo>
                  <a:pt x="4613420" y="4317092"/>
                </a:lnTo>
                <a:lnTo>
                  <a:pt x="4776168" y="4119497"/>
                </a:lnTo>
                <a:cubicBezTo>
                  <a:pt x="4828544" y="4046034"/>
                  <a:pt x="4876367" y="3968097"/>
                  <a:pt x="4919463" y="3885520"/>
                </a:cubicBezTo>
                <a:lnTo>
                  <a:pt x="4974580" y="3759962"/>
                </a:lnTo>
                <a:lnTo>
                  <a:pt x="5016577" y="3621898"/>
                </a:lnTo>
                <a:cubicBezTo>
                  <a:pt x="5030275" y="3572096"/>
                  <a:pt x="5042104" y="3521754"/>
                  <a:pt x="5050373" y="3470717"/>
                </a:cubicBezTo>
                <a:cubicBezTo>
                  <a:pt x="5056636" y="3443766"/>
                  <a:pt x="5068067" y="3420021"/>
                  <a:pt x="5050174" y="3392950"/>
                </a:cubicBezTo>
                <a:cubicBezTo>
                  <a:pt x="5039411" y="3377462"/>
                  <a:pt x="5047772" y="3355116"/>
                  <a:pt x="5049991" y="3335568"/>
                </a:cubicBezTo>
                <a:cubicBezTo>
                  <a:pt x="5068063" y="3232795"/>
                  <a:pt x="5072592" y="3128776"/>
                  <a:pt x="5075584" y="3025457"/>
                </a:cubicBezTo>
                <a:cubicBezTo>
                  <a:pt x="5075858" y="3017917"/>
                  <a:pt x="5076831" y="3011913"/>
                  <a:pt x="5068728" y="3006335"/>
                </a:cubicBezTo>
                <a:close/>
                <a:moveTo>
                  <a:pt x="5512425" y="2769494"/>
                </a:moveTo>
                <a:cubicBezTo>
                  <a:pt x="5517031" y="2774100"/>
                  <a:pt x="5517031" y="2778706"/>
                  <a:pt x="5517031" y="2783312"/>
                </a:cubicBezTo>
                <a:cubicBezTo>
                  <a:pt x="5517031" y="2783312"/>
                  <a:pt x="5517031" y="2783312"/>
                  <a:pt x="5517031" y="2787918"/>
                </a:cubicBezTo>
                <a:cubicBezTo>
                  <a:pt x="5517031" y="2792523"/>
                  <a:pt x="5517031" y="2792523"/>
                  <a:pt x="5517031" y="2792523"/>
                </a:cubicBezTo>
                <a:lnTo>
                  <a:pt x="5517031" y="2797129"/>
                </a:lnTo>
                <a:cubicBezTo>
                  <a:pt x="5517031" y="2797129"/>
                  <a:pt x="5517031" y="2792523"/>
                  <a:pt x="5512425" y="2787918"/>
                </a:cubicBezTo>
                <a:cubicBezTo>
                  <a:pt x="5512425" y="2778706"/>
                  <a:pt x="5512425" y="2774100"/>
                  <a:pt x="5512425" y="2769494"/>
                </a:cubicBezTo>
                <a:close/>
                <a:moveTo>
                  <a:pt x="73605" y="2372526"/>
                </a:moveTo>
                <a:cubicBezTo>
                  <a:pt x="75172" y="2375941"/>
                  <a:pt x="75172" y="2375941"/>
                  <a:pt x="75172" y="2375941"/>
                </a:cubicBezTo>
                <a:cubicBezTo>
                  <a:pt x="75172" y="2375941"/>
                  <a:pt x="76739" y="2379355"/>
                  <a:pt x="76739" y="2379355"/>
                </a:cubicBezTo>
                <a:cubicBezTo>
                  <a:pt x="73321" y="2380924"/>
                  <a:pt x="73321" y="2380924"/>
                  <a:pt x="71754" y="2377508"/>
                </a:cubicBezTo>
                <a:cubicBezTo>
                  <a:pt x="71754" y="2377508"/>
                  <a:pt x="70188" y="2374093"/>
                  <a:pt x="73605" y="2372526"/>
                </a:cubicBezTo>
                <a:close/>
                <a:moveTo>
                  <a:pt x="254147" y="1810170"/>
                </a:moveTo>
                <a:cubicBezTo>
                  <a:pt x="225384" y="1864704"/>
                  <a:pt x="211290" y="1933178"/>
                  <a:pt x="184092" y="1991128"/>
                </a:cubicBezTo>
                <a:cubicBezTo>
                  <a:pt x="175122" y="2007645"/>
                  <a:pt x="185375" y="2002941"/>
                  <a:pt x="183239" y="2016322"/>
                </a:cubicBezTo>
                <a:cubicBezTo>
                  <a:pt x="173984" y="2041238"/>
                  <a:pt x="166864" y="2052772"/>
                  <a:pt x="159744" y="2064306"/>
                </a:cubicBezTo>
                <a:cubicBezTo>
                  <a:pt x="152340" y="2084239"/>
                  <a:pt x="158891" y="2089500"/>
                  <a:pt x="154906" y="2107865"/>
                </a:cubicBezTo>
                <a:cubicBezTo>
                  <a:pt x="145935" y="2124382"/>
                  <a:pt x="136964" y="2140898"/>
                  <a:pt x="127993" y="2157417"/>
                </a:cubicBezTo>
                <a:cubicBezTo>
                  <a:pt x="127993" y="2157417"/>
                  <a:pt x="127993" y="2157417"/>
                  <a:pt x="118024" y="2153722"/>
                </a:cubicBezTo>
                <a:cubicBezTo>
                  <a:pt x="114322" y="2163689"/>
                  <a:pt x="108769" y="2178638"/>
                  <a:pt x="106633" y="2192019"/>
                </a:cubicBezTo>
                <a:cubicBezTo>
                  <a:pt x="106633" y="2192019"/>
                  <a:pt x="106633" y="2192019"/>
                  <a:pt x="110051" y="2190451"/>
                </a:cubicBezTo>
                <a:cubicBezTo>
                  <a:pt x="108484" y="2187035"/>
                  <a:pt x="110335" y="2182052"/>
                  <a:pt x="111902" y="2185468"/>
                </a:cubicBezTo>
                <a:cubicBezTo>
                  <a:pt x="111902" y="2185468"/>
                  <a:pt x="113469" y="2188883"/>
                  <a:pt x="113469" y="2188883"/>
                </a:cubicBezTo>
                <a:cubicBezTo>
                  <a:pt x="116886" y="2187315"/>
                  <a:pt x="119022" y="2173934"/>
                  <a:pt x="122155" y="2180764"/>
                </a:cubicBezTo>
                <a:cubicBezTo>
                  <a:pt x="121587" y="2197560"/>
                  <a:pt x="116602" y="2195713"/>
                  <a:pt x="114466" y="2209094"/>
                </a:cubicBezTo>
                <a:cubicBezTo>
                  <a:pt x="114466" y="2209094"/>
                  <a:pt x="114466" y="2209094"/>
                  <a:pt x="116033" y="2212509"/>
                </a:cubicBezTo>
                <a:cubicBezTo>
                  <a:pt x="116033" y="2212509"/>
                  <a:pt x="116033" y="2212509"/>
                  <a:pt x="112616" y="2214078"/>
                </a:cubicBezTo>
                <a:cubicBezTo>
                  <a:pt x="114182" y="2217492"/>
                  <a:pt x="112331" y="2222475"/>
                  <a:pt x="112331" y="2222475"/>
                </a:cubicBezTo>
                <a:cubicBezTo>
                  <a:pt x="108913" y="2224043"/>
                  <a:pt x="108913" y="2224043"/>
                  <a:pt x="108913" y="2224043"/>
                </a:cubicBezTo>
                <a:cubicBezTo>
                  <a:pt x="110197" y="2235857"/>
                  <a:pt x="107777" y="2257636"/>
                  <a:pt x="103791" y="2276000"/>
                </a:cubicBezTo>
                <a:cubicBezTo>
                  <a:pt x="96386" y="2295932"/>
                  <a:pt x="90833" y="2310882"/>
                  <a:pt x="83997" y="2314018"/>
                </a:cubicBezTo>
                <a:cubicBezTo>
                  <a:pt x="85564" y="2317433"/>
                  <a:pt x="82146" y="2319001"/>
                  <a:pt x="82146" y="2319001"/>
                </a:cubicBezTo>
                <a:cubicBezTo>
                  <a:pt x="83713" y="2322416"/>
                  <a:pt x="81862" y="2327399"/>
                  <a:pt x="78444" y="2328967"/>
                </a:cubicBezTo>
                <a:cubicBezTo>
                  <a:pt x="78444" y="2328967"/>
                  <a:pt x="78444" y="2328967"/>
                  <a:pt x="76878" y="2325552"/>
                </a:cubicBezTo>
                <a:cubicBezTo>
                  <a:pt x="78729" y="2320569"/>
                  <a:pt x="78729" y="2320569"/>
                  <a:pt x="78729" y="2320569"/>
                </a:cubicBezTo>
                <a:cubicBezTo>
                  <a:pt x="78729" y="2320569"/>
                  <a:pt x="78729" y="2320569"/>
                  <a:pt x="77162" y="2317154"/>
                </a:cubicBezTo>
                <a:cubicBezTo>
                  <a:pt x="73175" y="2335518"/>
                  <a:pt x="76593" y="2333950"/>
                  <a:pt x="74458" y="2347331"/>
                </a:cubicBezTo>
                <a:cubicBezTo>
                  <a:pt x="74458" y="2347331"/>
                  <a:pt x="76309" y="2342348"/>
                  <a:pt x="76309" y="2342348"/>
                </a:cubicBezTo>
                <a:cubicBezTo>
                  <a:pt x="76309" y="2342348"/>
                  <a:pt x="76309" y="2342348"/>
                  <a:pt x="77877" y="2345763"/>
                </a:cubicBezTo>
                <a:cubicBezTo>
                  <a:pt x="77877" y="2345763"/>
                  <a:pt x="77877" y="2345763"/>
                  <a:pt x="79443" y="2349178"/>
                </a:cubicBezTo>
                <a:cubicBezTo>
                  <a:pt x="79443" y="2349178"/>
                  <a:pt x="79728" y="2340781"/>
                  <a:pt x="84712" y="2342626"/>
                </a:cubicBezTo>
                <a:cubicBezTo>
                  <a:pt x="82577" y="2356008"/>
                  <a:pt x="80441" y="2369389"/>
                  <a:pt x="75457" y="2367543"/>
                </a:cubicBezTo>
                <a:cubicBezTo>
                  <a:pt x="75457" y="2367543"/>
                  <a:pt x="77024" y="2370957"/>
                  <a:pt x="73605" y="2372526"/>
                </a:cubicBezTo>
                <a:cubicBezTo>
                  <a:pt x="57515" y="2400578"/>
                  <a:pt x="49543" y="2437305"/>
                  <a:pt x="48121" y="2479296"/>
                </a:cubicBezTo>
                <a:cubicBezTo>
                  <a:pt x="48121" y="2479296"/>
                  <a:pt x="49688" y="2482710"/>
                  <a:pt x="46270" y="2484279"/>
                </a:cubicBezTo>
                <a:cubicBezTo>
                  <a:pt x="47837" y="2487694"/>
                  <a:pt x="45985" y="2492677"/>
                  <a:pt x="45985" y="2492677"/>
                </a:cubicBezTo>
                <a:cubicBezTo>
                  <a:pt x="45985" y="2492677"/>
                  <a:pt x="45985" y="2492677"/>
                  <a:pt x="44419" y="2489262"/>
                </a:cubicBezTo>
                <a:cubicBezTo>
                  <a:pt x="45701" y="2501076"/>
                  <a:pt x="46700" y="2521286"/>
                  <a:pt x="49832" y="2528117"/>
                </a:cubicBezTo>
                <a:cubicBezTo>
                  <a:pt x="48266" y="2524701"/>
                  <a:pt x="48266" y="2524701"/>
                  <a:pt x="50117" y="2519718"/>
                </a:cubicBezTo>
                <a:cubicBezTo>
                  <a:pt x="50117" y="2519718"/>
                  <a:pt x="53535" y="2518151"/>
                  <a:pt x="53535" y="2518151"/>
                </a:cubicBezTo>
                <a:cubicBezTo>
                  <a:pt x="55102" y="2521565"/>
                  <a:pt x="55102" y="2521565"/>
                  <a:pt x="53251" y="2526549"/>
                </a:cubicBezTo>
                <a:lnTo>
                  <a:pt x="53821" y="2527790"/>
                </a:lnTo>
                <a:lnTo>
                  <a:pt x="53340" y="2530125"/>
                </a:lnTo>
                <a:cubicBezTo>
                  <a:pt x="52646" y="2531993"/>
                  <a:pt x="52183" y="2533239"/>
                  <a:pt x="52967" y="2534947"/>
                </a:cubicBezTo>
                <a:cubicBezTo>
                  <a:pt x="51400" y="2531532"/>
                  <a:pt x="54818" y="2529963"/>
                  <a:pt x="54818" y="2529963"/>
                </a:cubicBezTo>
                <a:lnTo>
                  <a:pt x="53821" y="2527790"/>
                </a:lnTo>
                <a:lnTo>
                  <a:pt x="55102" y="2521565"/>
                </a:lnTo>
                <a:cubicBezTo>
                  <a:pt x="61798" y="2572233"/>
                  <a:pt x="46138" y="2637292"/>
                  <a:pt x="49417" y="2689527"/>
                </a:cubicBezTo>
                <a:cubicBezTo>
                  <a:pt x="45999" y="2691096"/>
                  <a:pt x="45430" y="2707892"/>
                  <a:pt x="43579" y="2712875"/>
                </a:cubicBezTo>
                <a:cubicBezTo>
                  <a:pt x="46997" y="2711307"/>
                  <a:pt x="46997" y="2711307"/>
                  <a:pt x="50130" y="2718137"/>
                </a:cubicBezTo>
                <a:cubicBezTo>
                  <a:pt x="50130" y="2718137"/>
                  <a:pt x="46713" y="2719705"/>
                  <a:pt x="48279" y="2723120"/>
                </a:cubicBezTo>
                <a:cubicBezTo>
                  <a:pt x="49846" y="2726535"/>
                  <a:pt x="46428" y="2728103"/>
                  <a:pt x="47995" y="2731518"/>
                </a:cubicBezTo>
                <a:cubicBezTo>
                  <a:pt x="49992" y="2771940"/>
                  <a:pt x="42872" y="2783475"/>
                  <a:pt x="40453" y="2805254"/>
                </a:cubicBezTo>
                <a:cubicBezTo>
                  <a:pt x="40453" y="2805254"/>
                  <a:pt x="38886" y="2801839"/>
                  <a:pt x="42303" y="2800271"/>
                </a:cubicBezTo>
                <a:cubicBezTo>
                  <a:pt x="42303" y="2800271"/>
                  <a:pt x="45721" y="2798702"/>
                  <a:pt x="47288" y="2802118"/>
                </a:cubicBezTo>
                <a:cubicBezTo>
                  <a:pt x="47288" y="2802118"/>
                  <a:pt x="45437" y="2807101"/>
                  <a:pt x="45437" y="2807101"/>
                </a:cubicBezTo>
                <a:cubicBezTo>
                  <a:pt x="47003" y="2810516"/>
                  <a:pt x="47003" y="2810516"/>
                  <a:pt x="47003" y="2810516"/>
                </a:cubicBezTo>
                <a:cubicBezTo>
                  <a:pt x="54838" y="2827591"/>
                  <a:pt x="53132" y="2877980"/>
                  <a:pt x="41312" y="2879269"/>
                </a:cubicBezTo>
                <a:cubicBezTo>
                  <a:pt x="45443" y="2906310"/>
                  <a:pt x="52424" y="2948580"/>
                  <a:pt x="48154" y="2975342"/>
                </a:cubicBezTo>
                <a:cubicBezTo>
                  <a:pt x="43738" y="2956699"/>
                  <a:pt x="34622" y="2927811"/>
                  <a:pt x="32341" y="2895787"/>
                </a:cubicBezTo>
                <a:cubicBezTo>
                  <a:pt x="30060" y="2863762"/>
                  <a:pt x="30912" y="2838567"/>
                  <a:pt x="39599" y="2830448"/>
                </a:cubicBezTo>
                <a:cubicBezTo>
                  <a:pt x="36182" y="2832017"/>
                  <a:pt x="36182" y="2832017"/>
                  <a:pt x="34615" y="2828601"/>
                </a:cubicBezTo>
                <a:cubicBezTo>
                  <a:pt x="36466" y="2823619"/>
                  <a:pt x="33332" y="2816788"/>
                  <a:pt x="36750" y="2815220"/>
                </a:cubicBezTo>
                <a:cubicBezTo>
                  <a:pt x="36750" y="2815220"/>
                  <a:pt x="35183" y="2811805"/>
                  <a:pt x="38601" y="2810237"/>
                </a:cubicBezTo>
                <a:cubicBezTo>
                  <a:pt x="38601" y="2810237"/>
                  <a:pt x="38601" y="2810237"/>
                  <a:pt x="35183" y="2811805"/>
                </a:cubicBezTo>
                <a:cubicBezTo>
                  <a:pt x="25215" y="2808111"/>
                  <a:pt x="29484" y="2781349"/>
                  <a:pt x="32189" y="2751171"/>
                </a:cubicBezTo>
                <a:cubicBezTo>
                  <a:pt x="32189" y="2751171"/>
                  <a:pt x="32189" y="2751171"/>
                  <a:pt x="30622" y="2747756"/>
                </a:cubicBezTo>
                <a:cubicBezTo>
                  <a:pt x="27204" y="2749324"/>
                  <a:pt x="27204" y="2749324"/>
                  <a:pt x="29055" y="2744342"/>
                </a:cubicBezTo>
                <a:cubicBezTo>
                  <a:pt x="29055" y="2744342"/>
                  <a:pt x="27489" y="2740926"/>
                  <a:pt x="27489" y="2740926"/>
                </a:cubicBezTo>
                <a:cubicBezTo>
                  <a:pt x="30906" y="2739359"/>
                  <a:pt x="30906" y="2739359"/>
                  <a:pt x="30906" y="2739359"/>
                </a:cubicBezTo>
                <a:cubicBezTo>
                  <a:pt x="30906" y="2739359"/>
                  <a:pt x="30906" y="2739359"/>
                  <a:pt x="25922" y="2737511"/>
                </a:cubicBezTo>
                <a:cubicBezTo>
                  <a:pt x="26206" y="2729114"/>
                  <a:pt x="21222" y="2727266"/>
                  <a:pt x="20223" y="2707055"/>
                </a:cubicBezTo>
                <a:cubicBezTo>
                  <a:pt x="13388" y="2710191"/>
                  <a:pt x="15953" y="2733817"/>
                  <a:pt x="7834" y="2725140"/>
                </a:cubicBezTo>
                <a:cubicBezTo>
                  <a:pt x="7977" y="2720941"/>
                  <a:pt x="7193" y="2719234"/>
                  <a:pt x="6410" y="2717526"/>
                </a:cubicBezTo>
                <a:lnTo>
                  <a:pt x="5697" y="2713719"/>
                </a:lnTo>
                <a:lnTo>
                  <a:pt x="6552" y="2713327"/>
                </a:lnTo>
                <a:cubicBezTo>
                  <a:pt x="4985" y="2709912"/>
                  <a:pt x="4985" y="2709912"/>
                  <a:pt x="4985" y="2709912"/>
                </a:cubicBezTo>
                <a:lnTo>
                  <a:pt x="5697" y="2713719"/>
                </a:lnTo>
                <a:lnTo>
                  <a:pt x="3134" y="2714895"/>
                </a:lnTo>
                <a:cubicBezTo>
                  <a:pt x="3134" y="2714895"/>
                  <a:pt x="1567" y="2711481"/>
                  <a:pt x="1567" y="2711481"/>
                </a:cubicBezTo>
                <a:cubicBezTo>
                  <a:pt x="0" y="2708065"/>
                  <a:pt x="0" y="2708065"/>
                  <a:pt x="0" y="2708065"/>
                </a:cubicBezTo>
                <a:cubicBezTo>
                  <a:pt x="1852" y="2703082"/>
                  <a:pt x="2136" y="2694684"/>
                  <a:pt x="2420" y="2686286"/>
                </a:cubicBezTo>
                <a:cubicBezTo>
                  <a:pt x="2420" y="2686286"/>
                  <a:pt x="4271" y="2681302"/>
                  <a:pt x="4271" y="2681302"/>
                </a:cubicBezTo>
                <a:cubicBezTo>
                  <a:pt x="4271" y="2681302"/>
                  <a:pt x="2705" y="2677888"/>
                  <a:pt x="4556" y="2672905"/>
                </a:cubicBezTo>
                <a:cubicBezTo>
                  <a:pt x="4556" y="2672905"/>
                  <a:pt x="2988" y="2669490"/>
                  <a:pt x="6407" y="2667921"/>
                </a:cubicBezTo>
                <a:cubicBezTo>
                  <a:pt x="7974" y="2671336"/>
                  <a:pt x="7974" y="2671336"/>
                  <a:pt x="6122" y="2676319"/>
                </a:cubicBezTo>
                <a:cubicBezTo>
                  <a:pt x="6122" y="2676319"/>
                  <a:pt x="7689" y="2679735"/>
                  <a:pt x="5838" y="2684717"/>
                </a:cubicBezTo>
                <a:cubicBezTo>
                  <a:pt x="9540" y="2674752"/>
                  <a:pt x="9825" y="2666354"/>
                  <a:pt x="15093" y="2659802"/>
                </a:cubicBezTo>
                <a:cubicBezTo>
                  <a:pt x="20078" y="2661649"/>
                  <a:pt x="21360" y="2673463"/>
                  <a:pt x="30047" y="2665344"/>
                </a:cubicBezTo>
                <a:cubicBezTo>
                  <a:pt x="30470" y="2603141"/>
                  <a:pt x="28758" y="2554321"/>
                  <a:pt x="41001" y="2490831"/>
                </a:cubicBezTo>
                <a:cubicBezTo>
                  <a:pt x="39434" y="2487415"/>
                  <a:pt x="39434" y="2487415"/>
                  <a:pt x="41285" y="2482432"/>
                </a:cubicBezTo>
                <a:cubicBezTo>
                  <a:pt x="39719" y="2479017"/>
                  <a:pt x="43136" y="2477449"/>
                  <a:pt x="43136" y="2477449"/>
                </a:cubicBezTo>
                <a:cubicBezTo>
                  <a:pt x="42137" y="2457238"/>
                  <a:pt x="46408" y="2430475"/>
                  <a:pt x="52246" y="2407128"/>
                </a:cubicBezTo>
                <a:cubicBezTo>
                  <a:pt x="51248" y="2386916"/>
                  <a:pt x="52385" y="2353325"/>
                  <a:pt x="61924" y="2320011"/>
                </a:cubicBezTo>
                <a:cubicBezTo>
                  <a:pt x="66479" y="2284850"/>
                  <a:pt x="76018" y="2251537"/>
                  <a:pt x="83422" y="2231605"/>
                </a:cubicBezTo>
                <a:cubicBezTo>
                  <a:pt x="93247" y="2189893"/>
                  <a:pt x="104921" y="2143199"/>
                  <a:pt x="114745" y="2101486"/>
                </a:cubicBezTo>
                <a:cubicBezTo>
                  <a:pt x="126135" y="2063190"/>
                  <a:pt x="139092" y="2028308"/>
                  <a:pt x="158316" y="2007088"/>
                </a:cubicBezTo>
                <a:cubicBezTo>
                  <a:pt x="156465" y="2012071"/>
                  <a:pt x="154614" y="2017053"/>
                  <a:pt x="152764" y="2022036"/>
                </a:cubicBezTo>
                <a:cubicBezTo>
                  <a:pt x="152764" y="2022036"/>
                  <a:pt x="152764" y="2022036"/>
                  <a:pt x="158032" y="2015486"/>
                </a:cubicBezTo>
                <a:cubicBezTo>
                  <a:pt x="156465" y="2012071"/>
                  <a:pt x="159883" y="2010503"/>
                  <a:pt x="159883" y="2010503"/>
                </a:cubicBezTo>
                <a:cubicBezTo>
                  <a:pt x="161451" y="2013917"/>
                  <a:pt x="161451" y="2013917"/>
                  <a:pt x="159599" y="2018900"/>
                </a:cubicBezTo>
                <a:cubicBezTo>
                  <a:pt x="159599" y="2018900"/>
                  <a:pt x="159599" y="2018900"/>
                  <a:pt x="161166" y="2022315"/>
                </a:cubicBezTo>
                <a:cubicBezTo>
                  <a:pt x="174123" y="1987435"/>
                  <a:pt x="188931" y="1947569"/>
                  <a:pt x="196904" y="1910840"/>
                </a:cubicBezTo>
                <a:cubicBezTo>
                  <a:pt x="216128" y="1889620"/>
                  <a:pt x="232788" y="1844772"/>
                  <a:pt x="254147" y="1810170"/>
                </a:cubicBezTo>
                <a:close/>
                <a:moveTo>
                  <a:pt x="5255412" y="1808295"/>
                </a:moveTo>
                <a:lnTo>
                  <a:pt x="5262797" y="1822287"/>
                </a:lnTo>
                <a:lnTo>
                  <a:pt x="5259110" y="1811511"/>
                </a:lnTo>
                <a:close/>
                <a:moveTo>
                  <a:pt x="5254505" y="1612476"/>
                </a:moveTo>
                <a:lnTo>
                  <a:pt x="5259110" y="1618072"/>
                </a:lnTo>
                <a:cubicBezTo>
                  <a:pt x="5259110" y="1618072"/>
                  <a:pt x="5254505" y="1613466"/>
                  <a:pt x="5254505" y="1613466"/>
                </a:cubicBezTo>
                <a:close/>
                <a:moveTo>
                  <a:pt x="4839989" y="1198953"/>
                </a:moveTo>
                <a:cubicBezTo>
                  <a:pt x="4844595" y="1198954"/>
                  <a:pt x="4844595" y="1198954"/>
                  <a:pt x="4844595" y="1198954"/>
                </a:cubicBezTo>
                <a:cubicBezTo>
                  <a:pt x="4853807" y="1203559"/>
                  <a:pt x="4853807" y="1203559"/>
                  <a:pt x="4844595" y="1203559"/>
                </a:cubicBezTo>
                <a:cubicBezTo>
                  <a:pt x="4839989" y="1198953"/>
                  <a:pt x="4839989" y="1198953"/>
                  <a:pt x="4839989" y="1198953"/>
                </a:cubicBezTo>
                <a:close/>
                <a:moveTo>
                  <a:pt x="4844595" y="1175925"/>
                </a:moveTo>
                <a:cubicBezTo>
                  <a:pt x="4844595" y="1175925"/>
                  <a:pt x="4849201" y="1175925"/>
                  <a:pt x="4849201" y="1180532"/>
                </a:cubicBezTo>
                <a:cubicBezTo>
                  <a:pt x="4844595" y="1180531"/>
                  <a:pt x="4844595" y="1180531"/>
                  <a:pt x="4844595" y="1180531"/>
                </a:cubicBezTo>
                <a:cubicBezTo>
                  <a:pt x="4844595" y="1180531"/>
                  <a:pt x="4844595" y="1175925"/>
                  <a:pt x="4844595" y="1175925"/>
                </a:cubicBezTo>
                <a:close/>
                <a:moveTo>
                  <a:pt x="4717028" y="1104605"/>
                </a:moveTo>
                <a:lnTo>
                  <a:pt x="4848516" y="1235748"/>
                </a:lnTo>
                <a:cubicBezTo>
                  <a:pt x="4917057" y="1307875"/>
                  <a:pt x="4982667" y="1382726"/>
                  <a:pt x="5042418" y="1463027"/>
                </a:cubicBezTo>
                <a:cubicBezTo>
                  <a:pt x="5103742" y="1546782"/>
                  <a:pt x="5159369" y="1632784"/>
                  <a:pt x="5209369" y="1721060"/>
                </a:cubicBezTo>
                <a:lnTo>
                  <a:pt x="5245013" y="1788592"/>
                </a:lnTo>
                <a:lnTo>
                  <a:pt x="5251050" y="1795175"/>
                </a:lnTo>
                <a:cubicBezTo>
                  <a:pt x="5261414" y="1810072"/>
                  <a:pt x="5271777" y="1833388"/>
                  <a:pt x="5282140" y="1843751"/>
                </a:cubicBezTo>
                <a:cubicBezTo>
                  <a:pt x="5282140" y="1843751"/>
                  <a:pt x="5282139" y="1848356"/>
                  <a:pt x="5282139" y="1848356"/>
                </a:cubicBezTo>
                <a:cubicBezTo>
                  <a:pt x="5282139" y="1852961"/>
                  <a:pt x="5282139" y="1852961"/>
                  <a:pt x="5282139" y="1852961"/>
                </a:cubicBezTo>
                <a:cubicBezTo>
                  <a:pt x="5282139" y="1852961"/>
                  <a:pt x="5286745" y="1852962"/>
                  <a:pt x="5286745" y="1852962"/>
                </a:cubicBezTo>
                <a:cubicBezTo>
                  <a:pt x="5295956" y="1866779"/>
                  <a:pt x="5291351" y="1866779"/>
                  <a:pt x="5295956" y="1875989"/>
                </a:cubicBezTo>
                <a:cubicBezTo>
                  <a:pt x="5295956" y="1875989"/>
                  <a:pt x="5295956" y="1880596"/>
                  <a:pt x="5295956" y="1880596"/>
                </a:cubicBezTo>
                <a:cubicBezTo>
                  <a:pt x="5295956" y="1880596"/>
                  <a:pt x="5300562" y="1885202"/>
                  <a:pt x="5300562" y="1885202"/>
                </a:cubicBezTo>
                <a:cubicBezTo>
                  <a:pt x="5300562" y="1880595"/>
                  <a:pt x="5300562" y="1880595"/>
                  <a:pt x="5300562" y="1880595"/>
                </a:cubicBezTo>
                <a:cubicBezTo>
                  <a:pt x="5314379" y="1903625"/>
                  <a:pt x="5318985" y="1917442"/>
                  <a:pt x="5332803" y="1931258"/>
                </a:cubicBezTo>
                <a:cubicBezTo>
                  <a:pt x="5328196" y="1931259"/>
                  <a:pt x="5328196" y="1931259"/>
                  <a:pt x="5328196" y="1931259"/>
                </a:cubicBezTo>
                <a:lnTo>
                  <a:pt x="5328196" y="1935864"/>
                </a:lnTo>
                <a:cubicBezTo>
                  <a:pt x="5328197" y="1940470"/>
                  <a:pt x="5332802" y="1940470"/>
                  <a:pt x="5332802" y="1940470"/>
                </a:cubicBezTo>
                <a:cubicBezTo>
                  <a:pt x="5332802" y="1940470"/>
                  <a:pt x="5332802" y="1940470"/>
                  <a:pt x="5337408" y="1940470"/>
                </a:cubicBezTo>
                <a:cubicBezTo>
                  <a:pt x="5337409" y="1945076"/>
                  <a:pt x="5337409" y="1945076"/>
                  <a:pt x="5337409" y="1945076"/>
                </a:cubicBezTo>
                <a:cubicBezTo>
                  <a:pt x="5346619" y="1958893"/>
                  <a:pt x="5342013" y="1963498"/>
                  <a:pt x="5346619" y="1972710"/>
                </a:cubicBezTo>
                <a:cubicBezTo>
                  <a:pt x="5351225" y="1972710"/>
                  <a:pt x="5351225" y="1968104"/>
                  <a:pt x="5355831" y="1977315"/>
                </a:cubicBezTo>
                <a:cubicBezTo>
                  <a:pt x="5355831" y="1981921"/>
                  <a:pt x="5360436" y="1981921"/>
                  <a:pt x="5360436" y="1986527"/>
                </a:cubicBezTo>
                <a:cubicBezTo>
                  <a:pt x="5355831" y="1986527"/>
                  <a:pt x="5355831" y="1986527"/>
                  <a:pt x="5355831" y="1991132"/>
                </a:cubicBezTo>
                <a:cubicBezTo>
                  <a:pt x="5355831" y="1991132"/>
                  <a:pt x="5355831" y="1995738"/>
                  <a:pt x="5360436" y="1995738"/>
                </a:cubicBezTo>
                <a:cubicBezTo>
                  <a:pt x="5360436" y="1995738"/>
                  <a:pt x="5360437" y="2000344"/>
                  <a:pt x="5365042" y="2000344"/>
                </a:cubicBezTo>
                <a:cubicBezTo>
                  <a:pt x="5369648" y="2009556"/>
                  <a:pt x="5392676" y="2046401"/>
                  <a:pt x="5388071" y="2041794"/>
                </a:cubicBezTo>
                <a:cubicBezTo>
                  <a:pt x="5397282" y="2037190"/>
                  <a:pt x="5374253" y="2027977"/>
                  <a:pt x="5383465" y="2023372"/>
                </a:cubicBezTo>
                <a:cubicBezTo>
                  <a:pt x="5378859" y="2018767"/>
                  <a:pt x="5374253" y="2014160"/>
                  <a:pt x="5369648" y="2004950"/>
                </a:cubicBezTo>
                <a:cubicBezTo>
                  <a:pt x="5369648" y="2004950"/>
                  <a:pt x="5369648" y="2004950"/>
                  <a:pt x="5369648" y="2000343"/>
                </a:cubicBezTo>
                <a:cubicBezTo>
                  <a:pt x="5369648" y="2000343"/>
                  <a:pt x="5369648" y="1995738"/>
                  <a:pt x="5369648" y="1995738"/>
                </a:cubicBezTo>
                <a:cubicBezTo>
                  <a:pt x="5369648" y="1991133"/>
                  <a:pt x="5365042" y="1986527"/>
                  <a:pt x="5365042" y="1986527"/>
                </a:cubicBezTo>
                <a:cubicBezTo>
                  <a:pt x="5365042" y="1972710"/>
                  <a:pt x="5351225" y="1968104"/>
                  <a:pt x="5342013" y="1949681"/>
                </a:cubicBezTo>
                <a:cubicBezTo>
                  <a:pt x="5346619" y="1949682"/>
                  <a:pt x="5346619" y="1945076"/>
                  <a:pt x="5342013" y="1940470"/>
                </a:cubicBezTo>
                <a:cubicBezTo>
                  <a:pt x="5342013" y="1935863"/>
                  <a:pt x="5342013" y="1935863"/>
                  <a:pt x="5342013" y="1935863"/>
                </a:cubicBezTo>
                <a:cubicBezTo>
                  <a:pt x="5342013" y="1935863"/>
                  <a:pt x="5342013" y="1931259"/>
                  <a:pt x="5342013" y="1926652"/>
                </a:cubicBezTo>
                <a:cubicBezTo>
                  <a:pt x="5337409" y="1926653"/>
                  <a:pt x="5337408" y="1922046"/>
                  <a:pt x="5337409" y="1926653"/>
                </a:cubicBezTo>
                <a:cubicBezTo>
                  <a:pt x="5337409" y="1926653"/>
                  <a:pt x="5332802" y="1926653"/>
                  <a:pt x="5332802" y="1926653"/>
                </a:cubicBezTo>
                <a:cubicBezTo>
                  <a:pt x="5332802" y="1912836"/>
                  <a:pt x="5323590" y="1917442"/>
                  <a:pt x="5318985" y="1908229"/>
                </a:cubicBezTo>
                <a:cubicBezTo>
                  <a:pt x="5314379" y="1894413"/>
                  <a:pt x="5309773" y="1885201"/>
                  <a:pt x="5305168" y="1880596"/>
                </a:cubicBezTo>
                <a:cubicBezTo>
                  <a:pt x="5305168" y="1880596"/>
                  <a:pt x="5305168" y="1875990"/>
                  <a:pt x="5305168" y="1875990"/>
                </a:cubicBezTo>
                <a:cubicBezTo>
                  <a:pt x="5305168" y="1875990"/>
                  <a:pt x="5305168" y="1875990"/>
                  <a:pt x="5305168" y="1871385"/>
                </a:cubicBezTo>
                <a:cubicBezTo>
                  <a:pt x="5295957" y="1862172"/>
                  <a:pt x="5295957" y="1862172"/>
                  <a:pt x="5291350" y="1852962"/>
                </a:cubicBezTo>
                <a:cubicBezTo>
                  <a:pt x="5291350" y="1857567"/>
                  <a:pt x="5291350" y="1857567"/>
                  <a:pt x="5295956" y="1857568"/>
                </a:cubicBezTo>
                <a:cubicBezTo>
                  <a:pt x="5295956" y="1857568"/>
                  <a:pt x="5295956" y="1857568"/>
                  <a:pt x="5295956" y="1852962"/>
                </a:cubicBezTo>
                <a:cubicBezTo>
                  <a:pt x="5295956" y="1852962"/>
                  <a:pt x="5291350" y="1848356"/>
                  <a:pt x="5291350" y="1848356"/>
                </a:cubicBezTo>
                <a:cubicBezTo>
                  <a:pt x="5286745" y="1843750"/>
                  <a:pt x="5286745" y="1843750"/>
                  <a:pt x="5286745" y="1843750"/>
                </a:cubicBezTo>
                <a:cubicBezTo>
                  <a:pt x="5286746" y="1839145"/>
                  <a:pt x="5286746" y="1839145"/>
                  <a:pt x="5282139" y="1829934"/>
                </a:cubicBezTo>
                <a:cubicBezTo>
                  <a:pt x="5282139" y="1834539"/>
                  <a:pt x="5277533" y="1829934"/>
                  <a:pt x="5272928" y="1820721"/>
                </a:cubicBezTo>
                <a:cubicBezTo>
                  <a:pt x="5277533" y="1820722"/>
                  <a:pt x="5277533" y="1825328"/>
                  <a:pt x="5282139" y="1825327"/>
                </a:cubicBezTo>
                <a:cubicBezTo>
                  <a:pt x="5272928" y="1811511"/>
                  <a:pt x="5272928" y="1820721"/>
                  <a:pt x="5268323" y="1811511"/>
                </a:cubicBezTo>
                <a:cubicBezTo>
                  <a:pt x="5263716" y="1797694"/>
                  <a:pt x="5268322" y="1806905"/>
                  <a:pt x="5254505" y="1788482"/>
                </a:cubicBezTo>
                <a:cubicBezTo>
                  <a:pt x="5259110" y="1783876"/>
                  <a:pt x="5263716" y="1788482"/>
                  <a:pt x="5268322" y="1788482"/>
                </a:cubicBezTo>
                <a:cubicBezTo>
                  <a:pt x="5259110" y="1779271"/>
                  <a:pt x="5254505" y="1774665"/>
                  <a:pt x="5249899" y="1770060"/>
                </a:cubicBezTo>
                <a:cubicBezTo>
                  <a:pt x="5254505" y="1770060"/>
                  <a:pt x="5254505" y="1770060"/>
                  <a:pt x="5254505" y="1770060"/>
                </a:cubicBezTo>
                <a:cubicBezTo>
                  <a:pt x="5254505" y="1770060"/>
                  <a:pt x="5254505" y="1770060"/>
                  <a:pt x="5254505" y="1765454"/>
                </a:cubicBezTo>
                <a:cubicBezTo>
                  <a:pt x="5254505" y="1765454"/>
                  <a:pt x="5249900" y="1765454"/>
                  <a:pt x="5249899" y="1760848"/>
                </a:cubicBezTo>
                <a:cubicBezTo>
                  <a:pt x="5245294" y="1756242"/>
                  <a:pt x="5240687" y="1747031"/>
                  <a:pt x="5236082" y="1747031"/>
                </a:cubicBezTo>
                <a:cubicBezTo>
                  <a:pt x="5236082" y="1747031"/>
                  <a:pt x="5231477" y="1742425"/>
                  <a:pt x="5231476" y="1737820"/>
                </a:cubicBezTo>
                <a:cubicBezTo>
                  <a:pt x="5231476" y="1737820"/>
                  <a:pt x="5231476" y="1737820"/>
                  <a:pt x="5226870" y="1733215"/>
                </a:cubicBezTo>
                <a:cubicBezTo>
                  <a:pt x="5226870" y="1733215"/>
                  <a:pt x="5226870" y="1733215"/>
                  <a:pt x="5226870" y="1737820"/>
                </a:cubicBezTo>
                <a:cubicBezTo>
                  <a:pt x="5226870" y="1737820"/>
                  <a:pt x="5226870" y="1737820"/>
                  <a:pt x="5226870" y="1742425"/>
                </a:cubicBezTo>
                <a:cubicBezTo>
                  <a:pt x="5213053" y="1728608"/>
                  <a:pt x="5208447" y="1714792"/>
                  <a:pt x="5203843" y="1705580"/>
                </a:cubicBezTo>
                <a:cubicBezTo>
                  <a:pt x="5208447" y="1705580"/>
                  <a:pt x="5213054" y="1710187"/>
                  <a:pt x="5217659" y="1710186"/>
                </a:cubicBezTo>
                <a:cubicBezTo>
                  <a:pt x="5203842" y="1687157"/>
                  <a:pt x="5190024" y="1664130"/>
                  <a:pt x="5190024" y="1682551"/>
                </a:cubicBezTo>
                <a:cubicBezTo>
                  <a:pt x="5180813" y="1659523"/>
                  <a:pt x="5180813" y="1659523"/>
                  <a:pt x="5166996" y="1645706"/>
                </a:cubicBezTo>
                <a:cubicBezTo>
                  <a:pt x="5166996" y="1645706"/>
                  <a:pt x="5171603" y="1645706"/>
                  <a:pt x="5171602" y="1650312"/>
                </a:cubicBezTo>
                <a:cubicBezTo>
                  <a:pt x="5171602" y="1650312"/>
                  <a:pt x="5176207" y="1650312"/>
                  <a:pt x="5176207" y="1650312"/>
                </a:cubicBezTo>
                <a:cubicBezTo>
                  <a:pt x="5180814" y="1654917"/>
                  <a:pt x="5180814" y="1650312"/>
                  <a:pt x="5180814" y="1650312"/>
                </a:cubicBezTo>
                <a:cubicBezTo>
                  <a:pt x="5180813" y="1645706"/>
                  <a:pt x="5180813" y="1645706"/>
                  <a:pt x="5176208" y="1641100"/>
                </a:cubicBezTo>
                <a:cubicBezTo>
                  <a:pt x="5180813" y="1641100"/>
                  <a:pt x="5180813" y="1641100"/>
                  <a:pt x="5180813" y="1641100"/>
                </a:cubicBezTo>
                <a:cubicBezTo>
                  <a:pt x="5180813" y="1645706"/>
                  <a:pt x="5185420" y="1645706"/>
                  <a:pt x="5185420" y="1645706"/>
                </a:cubicBezTo>
                <a:cubicBezTo>
                  <a:pt x="5185419" y="1650312"/>
                  <a:pt x="5185419" y="1650312"/>
                  <a:pt x="5185419" y="1650312"/>
                </a:cubicBezTo>
                <a:cubicBezTo>
                  <a:pt x="5185419" y="1650312"/>
                  <a:pt x="5190024" y="1654917"/>
                  <a:pt x="5190024" y="1654917"/>
                </a:cubicBezTo>
                <a:cubicBezTo>
                  <a:pt x="5190024" y="1654917"/>
                  <a:pt x="5194630" y="1659523"/>
                  <a:pt x="5194630" y="1659523"/>
                </a:cubicBezTo>
                <a:cubicBezTo>
                  <a:pt x="5226871" y="1710186"/>
                  <a:pt x="5254505" y="1756242"/>
                  <a:pt x="5286745" y="1806905"/>
                </a:cubicBezTo>
                <a:cubicBezTo>
                  <a:pt x="5286745" y="1811511"/>
                  <a:pt x="5286745" y="1811511"/>
                  <a:pt x="5286745" y="1811511"/>
                </a:cubicBezTo>
                <a:cubicBezTo>
                  <a:pt x="5286745" y="1816115"/>
                  <a:pt x="5291350" y="1816115"/>
                  <a:pt x="5291350" y="1816115"/>
                </a:cubicBezTo>
                <a:cubicBezTo>
                  <a:pt x="5305169" y="1829934"/>
                  <a:pt x="5300562" y="1829933"/>
                  <a:pt x="5309773" y="1843751"/>
                </a:cubicBezTo>
                <a:cubicBezTo>
                  <a:pt x="5309773" y="1848356"/>
                  <a:pt x="5309773" y="1852962"/>
                  <a:pt x="5314379" y="1857568"/>
                </a:cubicBezTo>
                <a:cubicBezTo>
                  <a:pt x="5314379" y="1862173"/>
                  <a:pt x="5318985" y="1862173"/>
                  <a:pt x="5318985" y="1862173"/>
                </a:cubicBezTo>
                <a:cubicBezTo>
                  <a:pt x="5328196" y="1875990"/>
                  <a:pt x="5332802" y="1889808"/>
                  <a:pt x="5342013" y="1894413"/>
                </a:cubicBezTo>
                <a:cubicBezTo>
                  <a:pt x="5342013" y="1894413"/>
                  <a:pt x="5346619" y="1899019"/>
                  <a:pt x="5346619" y="1899019"/>
                </a:cubicBezTo>
                <a:cubicBezTo>
                  <a:pt x="5346619" y="1903625"/>
                  <a:pt x="5346619" y="1908230"/>
                  <a:pt x="5346619" y="1912836"/>
                </a:cubicBezTo>
                <a:cubicBezTo>
                  <a:pt x="5351225" y="1912836"/>
                  <a:pt x="5360436" y="1935864"/>
                  <a:pt x="5369648" y="1945075"/>
                </a:cubicBezTo>
                <a:cubicBezTo>
                  <a:pt x="5369648" y="1945075"/>
                  <a:pt x="5369648" y="1949681"/>
                  <a:pt x="5374253" y="1949681"/>
                </a:cubicBezTo>
                <a:cubicBezTo>
                  <a:pt x="5374253" y="1954287"/>
                  <a:pt x="5374253" y="1954287"/>
                  <a:pt x="5374253" y="1954287"/>
                </a:cubicBezTo>
                <a:cubicBezTo>
                  <a:pt x="5392676" y="1995738"/>
                  <a:pt x="5411099" y="2041794"/>
                  <a:pt x="5434128" y="2083247"/>
                </a:cubicBezTo>
                <a:cubicBezTo>
                  <a:pt x="5434128" y="2087851"/>
                  <a:pt x="5438734" y="2092457"/>
                  <a:pt x="5443339" y="2097064"/>
                </a:cubicBezTo>
                <a:cubicBezTo>
                  <a:pt x="5443339" y="2101669"/>
                  <a:pt x="5443339" y="2106275"/>
                  <a:pt x="5443340" y="2110881"/>
                </a:cubicBezTo>
                <a:cubicBezTo>
                  <a:pt x="5443339" y="2106275"/>
                  <a:pt x="5447945" y="2110880"/>
                  <a:pt x="5452551" y="2110881"/>
                </a:cubicBezTo>
                <a:cubicBezTo>
                  <a:pt x="5452551" y="2115485"/>
                  <a:pt x="5457156" y="2120092"/>
                  <a:pt x="5457156" y="2120092"/>
                </a:cubicBezTo>
                <a:cubicBezTo>
                  <a:pt x="5466368" y="2143121"/>
                  <a:pt x="5470974" y="2166149"/>
                  <a:pt x="5480186" y="2184572"/>
                </a:cubicBezTo>
                <a:cubicBezTo>
                  <a:pt x="5480186" y="2184572"/>
                  <a:pt x="5480185" y="2189177"/>
                  <a:pt x="5480185" y="2189177"/>
                </a:cubicBezTo>
                <a:cubicBezTo>
                  <a:pt x="5480185" y="2193783"/>
                  <a:pt x="5480185" y="2193783"/>
                  <a:pt x="5480185" y="2198388"/>
                </a:cubicBezTo>
                <a:cubicBezTo>
                  <a:pt x="5484791" y="2198389"/>
                  <a:pt x="5484791" y="2198389"/>
                  <a:pt x="5484791" y="2198389"/>
                </a:cubicBezTo>
                <a:cubicBezTo>
                  <a:pt x="5498608" y="2226022"/>
                  <a:pt x="5512425" y="2249052"/>
                  <a:pt x="5517031" y="2267474"/>
                </a:cubicBezTo>
                <a:cubicBezTo>
                  <a:pt x="5530848" y="2281290"/>
                  <a:pt x="5540059" y="2322742"/>
                  <a:pt x="5553877" y="2359588"/>
                </a:cubicBezTo>
                <a:cubicBezTo>
                  <a:pt x="5563088" y="2368800"/>
                  <a:pt x="5567694" y="2401039"/>
                  <a:pt x="5572300" y="2410251"/>
                </a:cubicBezTo>
                <a:cubicBezTo>
                  <a:pt x="5572300" y="2410251"/>
                  <a:pt x="5572300" y="2414857"/>
                  <a:pt x="5572300" y="2414857"/>
                </a:cubicBezTo>
                <a:cubicBezTo>
                  <a:pt x="5572300" y="2414857"/>
                  <a:pt x="5572300" y="2419462"/>
                  <a:pt x="5572300" y="2419462"/>
                </a:cubicBezTo>
                <a:cubicBezTo>
                  <a:pt x="5572300" y="2424068"/>
                  <a:pt x="5572300" y="2424068"/>
                  <a:pt x="5572300" y="2424068"/>
                </a:cubicBezTo>
                <a:cubicBezTo>
                  <a:pt x="5576905" y="2428673"/>
                  <a:pt x="5576905" y="2428673"/>
                  <a:pt x="5576905" y="2424068"/>
                </a:cubicBezTo>
                <a:cubicBezTo>
                  <a:pt x="5581511" y="2437885"/>
                  <a:pt x="5581511" y="2428674"/>
                  <a:pt x="5586117" y="2428674"/>
                </a:cubicBezTo>
                <a:cubicBezTo>
                  <a:pt x="5581510" y="2442491"/>
                  <a:pt x="5595328" y="2442491"/>
                  <a:pt x="5595327" y="2460913"/>
                </a:cubicBezTo>
                <a:cubicBezTo>
                  <a:pt x="5599934" y="2456308"/>
                  <a:pt x="5599933" y="2470125"/>
                  <a:pt x="5604540" y="2470125"/>
                </a:cubicBezTo>
                <a:cubicBezTo>
                  <a:pt x="5595328" y="2451702"/>
                  <a:pt x="5590722" y="2419462"/>
                  <a:pt x="5581511" y="2414857"/>
                </a:cubicBezTo>
                <a:cubicBezTo>
                  <a:pt x="5581511" y="2414857"/>
                  <a:pt x="5581511" y="2410250"/>
                  <a:pt x="5581511" y="2405645"/>
                </a:cubicBezTo>
                <a:cubicBezTo>
                  <a:pt x="5581511" y="2405645"/>
                  <a:pt x="5581511" y="2401039"/>
                  <a:pt x="5576905" y="2401039"/>
                </a:cubicBezTo>
                <a:cubicBezTo>
                  <a:pt x="5576905" y="2373405"/>
                  <a:pt x="5563088" y="2350377"/>
                  <a:pt x="5553876" y="2327348"/>
                </a:cubicBezTo>
                <a:cubicBezTo>
                  <a:pt x="5530848" y="2267474"/>
                  <a:pt x="5512425" y="2207600"/>
                  <a:pt x="5489397" y="2156937"/>
                </a:cubicBezTo>
                <a:cubicBezTo>
                  <a:pt x="5470974" y="2115485"/>
                  <a:pt x="5452551" y="2051007"/>
                  <a:pt x="5420311" y="1995738"/>
                </a:cubicBezTo>
                <a:cubicBezTo>
                  <a:pt x="5415705" y="1986527"/>
                  <a:pt x="5406494" y="1981921"/>
                  <a:pt x="5406495" y="1972710"/>
                </a:cubicBezTo>
                <a:cubicBezTo>
                  <a:pt x="5383465" y="1931258"/>
                  <a:pt x="5369648" y="1889808"/>
                  <a:pt x="5351225" y="1857568"/>
                </a:cubicBezTo>
                <a:cubicBezTo>
                  <a:pt x="5332802" y="1834539"/>
                  <a:pt x="5342013" y="1848356"/>
                  <a:pt x="5328197" y="1820722"/>
                </a:cubicBezTo>
                <a:cubicBezTo>
                  <a:pt x="5314379" y="1788483"/>
                  <a:pt x="5295956" y="1760848"/>
                  <a:pt x="5277533" y="1742425"/>
                </a:cubicBezTo>
                <a:cubicBezTo>
                  <a:pt x="5259110" y="1700974"/>
                  <a:pt x="5213053" y="1645706"/>
                  <a:pt x="5190025" y="1608860"/>
                </a:cubicBezTo>
                <a:cubicBezTo>
                  <a:pt x="5180813" y="1595043"/>
                  <a:pt x="5176207" y="1599649"/>
                  <a:pt x="5166996" y="1585832"/>
                </a:cubicBezTo>
                <a:cubicBezTo>
                  <a:pt x="5176207" y="1581226"/>
                  <a:pt x="5157784" y="1558198"/>
                  <a:pt x="5143968" y="1544381"/>
                </a:cubicBezTo>
                <a:cubicBezTo>
                  <a:pt x="5143968" y="1544381"/>
                  <a:pt x="5139362" y="1544381"/>
                  <a:pt x="5134756" y="1539775"/>
                </a:cubicBezTo>
                <a:cubicBezTo>
                  <a:pt x="5120939" y="1525958"/>
                  <a:pt x="5111727" y="1493718"/>
                  <a:pt x="5088699" y="1475295"/>
                </a:cubicBezTo>
                <a:cubicBezTo>
                  <a:pt x="5084093" y="1470690"/>
                  <a:pt x="5079487" y="1475295"/>
                  <a:pt x="5070276" y="1466084"/>
                </a:cubicBezTo>
                <a:cubicBezTo>
                  <a:pt x="5070276" y="1466084"/>
                  <a:pt x="5070276" y="1452267"/>
                  <a:pt x="5061064" y="1447660"/>
                </a:cubicBezTo>
                <a:cubicBezTo>
                  <a:pt x="5024219" y="1396998"/>
                  <a:pt x="4964344" y="1341730"/>
                  <a:pt x="4922893" y="1300279"/>
                </a:cubicBezTo>
                <a:cubicBezTo>
                  <a:pt x="4904470" y="1281856"/>
                  <a:pt x="4886047" y="1258828"/>
                  <a:pt x="4863018" y="1235799"/>
                </a:cubicBezTo>
                <a:cubicBezTo>
                  <a:pt x="4853807" y="1226588"/>
                  <a:pt x="4835385" y="1217376"/>
                  <a:pt x="4826172" y="1208165"/>
                </a:cubicBezTo>
                <a:cubicBezTo>
                  <a:pt x="4826172" y="1208165"/>
                  <a:pt x="4816961" y="1194348"/>
                  <a:pt x="4816961" y="1194348"/>
                </a:cubicBezTo>
                <a:cubicBezTo>
                  <a:pt x="4807749" y="1185137"/>
                  <a:pt x="4803144" y="1185137"/>
                  <a:pt x="4798538" y="1180532"/>
                </a:cubicBezTo>
                <a:cubicBezTo>
                  <a:pt x="4798538" y="1175925"/>
                  <a:pt x="4798538" y="1175925"/>
                  <a:pt x="4798538" y="1175925"/>
                </a:cubicBezTo>
                <a:cubicBezTo>
                  <a:pt x="4812355" y="1175925"/>
                  <a:pt x="4816961" y="1198954"/>
                  <a:pt x="4821567" y="1189742"/>
                </a:cubicBezTo>
                <a:cubicBezTo>
                  <a:pt x="4821567" y="1189742"/>
                  <a:pt x="4821567" y="1189742"/>
                  <a:pt x="4821567" y="1194348"/>
                </a:cubicBezTo>
                <a:cubicBezTo>
                  <a:pt x="4830778" y="1198954"/>
                  <a:pt x="4830778" y="1198954"/>
                  <a:pt x="4830778" y="1198954"/>
                </a:cubicBezTo>
                <a:cubicBezTo>
                  <a:pt x="4830778" y="1198954"/>
                  <a:pt x="4835384" y="1198954"/>
                  <a:pt x="4835384" y="1198954"/>
                </a:cubicBezTo>
                <a:cubicBezTo>
                  <a:pt x="4835384" y="1198954"/>
                  <a:pt x="4835384" y="1203559"/>
                  <a:pt x="4839989" y="1203559"/>
                </a:cubicBezTo>
                <a:cubicBezTo>
                  <a:pt x="4839989" y="1203559"/>
                  <a:pt x="4844595" y="1203559"/>
                  <a:pt x="4844595" y="1203559"/>
                </a:cubicBezTo>
                <a:cubicBezTo>
                  <a:pt x="4858412" y="1217376"/>
                  <a:pt x="4858412" y="1212771"/>
                  <a:pt x="4872230" y="1226588"/>
                </a:cubicBezTo>
                <a:cubicBezTo>
                  <a:pt x="4872230" y="1226588"/>
                  <a:pt x="4876836" y="1231193"/>
                  <a:pt x="4876836" y="1231193"/>
                </a:cubicBezTo>
                <a:cubicBezTo>
                  <a:pt x="4876836" y="1231193"/>
                  <a:pt x="4876836" y="1231193"/>
                  <a:pt x="4881441" y="1231194"/>
                </a:cubicBezTo>
                <a:cubicBezTo>
                  <a:pt x="4881441" y="1231194"/>
                  <a:pt x="4881441" y="1235799"/>
                  <a:pt x="4881441" y="1235799"/>
                </a:cubicBezTo>
                <a:cubicBezTo>
                  <a:pt x="4886047" y="1245010"/>
                  <a:pt x="4863019" y="1231194"/>
                  <a:pt x="4876835" y="1240405"/>
                </a:cubicBezTo>
                <a:cubicBezTo>
                  <a:pt x="4881441" y="1245010"/>
                  <a:pt x="4886047" y="1240405"/>
                  <a:pt x="4899864" y="1245010"/>
                </a:cubicBezTo>
                <a:cubicBezTo>
                  <a:pt x="4904470" y="1258828"/>
                  <a:pt x="4913681" y="1258828"/>
                  <a:pt x="4932104" y="1281856"/>
                </a:cubicBezTo>
                <a:cubicBezTo>
                  <a:pt x="4927498" y="1281856"/>
                  <a:pt x="4927498" y="1281856"/>
                  <a:pt x="4927498" y="1281856"/>
                </a:cubicBezTo>
                <a:cubicBezTo>
                  <a:pt x="4932104" y="1286462"/>
                  <a:pt x="4932104" y="1286462"/>
                  <a:pt x="4932104" y="1286462"/>
                </a:cubicBezTo>
                <a:cubicBezTo>
                  <a:pt x="4932105" y="1295673"/>
                  <a:pt x="4922893" y="1281856"/>
                  <a:pt x="4918287" y="1281856"/>
                </a:cubicBezTo>
                <a:cubicBezTo>
                  <a:pt x="4927498" y="1295673"/>
                  <a:pt x="4932105" y="1295673"/>
                  <a:pt x="4941315" y="1295673"/>
                </a:cubicBezTo>
                <a:cubicBezTo>
                  <a:pt x="4941316" y="1300279"/>
                  <a:pt x="4941316" y="1300279"/>
                  <a:pt x="4945921" y="1304885"/>
                </a:cubicBezTo>
                <a:cubicBezTo>
                  <a:pt x="4945922" y="1309490"/>
                  <a:pt x="4950527" y="1309491"/>
                  <a:pt x="4950527" y="1309491"/>
                </a:cubicBezTo>
                <a:cubicBezTo>
                  <a:pt x="4955133" y="1304885"/>
                  <a:pt x="4955133" y="1304885"/>
                  <a:pt x="4955133" y="1304885"/>
                </a:cubicBezTo>
                <a:cubicBezTo>
                  <a:pt x="4959738" y="1323307"/>
                  <a:pt x="4968950" y="1309490"/>
                  <a:pt x="4982767" y="1332519"/>
                </a:cubicBezTo>
                <a:cubicBezTo>
                  <a:pt x="4987373" y="1337124"/>
                  <a:pt x="4987373" y="1337124"/>
                  <a:pt x="4987373" y="1337124"/>
                </a:cubicBezTo>
                <a:cubicBezTo>
                  <a:pt x="4987373" y="1337124"/>
                  <a:pt x="4991979" y="1337124"/>
                  <a:pt x="4991979" y="1337124"/>
                </a:cubicBezTo>
                <a:cubicBezTo>
                  <a:pt x="5024218" y="1373970"/>
                  <a:pt x="5051853" y="1401604"/>
                  <a:pt x="5079487" y="1424633"/>
                </a:cubicBezTo>
                <a:cubicBezTo>
                  <a:pt x="5074881" y="1424633"/>
                  <a:pt x="5074881" y="1443056"/>
                  <a:pt x="5084093" y="1438450"/>
                </a:cubicBezTo>
                <a:cubicBezTo>
                  <a:pt x="5079487" y="1429238"/>
                  <a:pt x="5088699" y="1433844"/>
                  <a:pt x="5093305" y="1443055"/>
                </a:cubicBezTo>
                <a:cubicBezTo>
                  <a:pt x="5107121" y="1461478"/>
                  <a:pt x="5134756" y="1489112"/>
                  <a:pt x="5157784" y="1521352"/>
                </a:cubicBezTo>
                <a:cubicBezTo>
                  <a:pt x="5180813" y="1548986"/>
                  <a:pt x="5203842" y="1581226"/>
                  <a:pt x="5222265" y="1604255"/>
                </a:cubicBezTo>
                <a:cubicBezTo>
                  <a:pt x="5217659" y="1599649"/>
                  <a:pt x="5222265" y="1618072"/>
                  <a:pt x="5226870" y="1618072"/>
                </a:cubicBezTo>
                <a:cubicBezTo>
                  <a:pt x="5222265" y="1608860"/>
                  <a:pt x="5226871" y="1608860"/>
                  <a:pt x="5231476" y="1613466"/>
                </a:cubicBezTo>
                <a:cubicBezTo>
                  <a:pt x="5231476" y="1622677"/>
                  <a:pt x="5249900" y="1645706"/>
                  <a:pt x="5263716" y="1664129"/>
                </a:cubicBezTo>
                <a:cubicBezTo>
                  <a:pt x="5277533" y="1682551"/>
                  <a:pt x="5291351" y="1696368"/>
                  <a:pt x="5286745" y="1696368"/>
                </a:cubicBezTo>
                <a:cubicBezTo>
                  <a:pt x="5305168" y="1714792"/>
                  <a:pt x="5314379" y="1733215"/>
                  <a:pt x="5323590" y="1751637"/>
                </a:cubicBezTo>
                <a:cubicBezTo>
                  <a:pt x="5337408" y="1774665"/>
                  <a:pt x="5346619" y="1797694"/>
                  <a:pt x="5369648" y="1825328"/>
                </a:cubicBezTo>
                <a:cubicBezTo>
                  <a:pt x="5369648" y="1825328"/>
                  <a:pt x="5369648" y="1829933"/>
                  <a:pt x="5369648" y="1834539"/>
                </a:cubicBezTo>
                <a:cubicBezTo>
                  <a:pt x="5388071" y="1839145"/>
                  <a:pt x="5401888" y="1899019"/>
                  <a:pt x="5415705" y="1917442"/>
                </a:cubicBezTo>
                <a:cubicBezTo>
                  <a:pt x="5420312" y="1922046"/>
                  <a:pt x="5420312" y="1917442"/>
                  <a:pt x="5424916" y="1926653"/>
                </a:cubicBezTo>
                <a:cubicBezTo>
                  <a:pt x="5434128" y="1940470"/>
                  <a:pt x="5434129" y="1954287"/>
                  <a:pt x="5443339" y="1968104"/>
                </a:cubicBezTo>
                <a:cubicBezTo>
                  <a:pt x="5447945" y="1977316"/>
                  <a:pt x="5452552" y="1981921"/>
                  <a:pt x="5461762" y="1991132"/>
                </a:cubicBezTo>
                <a:cubicBezTo>
                  <a:pt x="5475579" y="2018767"/>
                  <a:pt x="5484791" y="2060218"/>
                  <a:pt x="5498608" y="2092458"/>
                </a:cubicBezTo>
                <a:cubicBezTo>
                  <a:pt x="5517031" y="2129304"/>
                  <a:pt x="5535454" y="2184572"/>
                  <a:pt x="5553877" y="2226023"/>
                </a:cubicBezTo>
                <a:cubicBezTo>
                  <a:pt x="5558482" y="2239840"/>
                  <a:pt x="5567694" y="2253656"/>
                  <a:pt x="5572300" y="2262868"/>
                </a:cubicBezTo>
                <a:cubicBezTo>
                  <a:pt x="5572300" y="2262868"/>
                  <a:pt x="5567694" y="2258262"/>
                  <a:pt x="5567694" y="2258262"/>
                </a:cubicBezTo>
                <a:cubicBezTo>
                  <a:pt x="5572300" y="2276686"/>
                  <a:pt x="5581511" y="2295109"/>
                  <a:pt x="5586117" y="2308925"/>
                </a:cubicBezTo>
                <a:cubicBezTo>
                  <a:pt x="5586117" y="2313531"/>
                  <a:pt x="5586117" y="2322742"/>
                  <a:pt x="5586117" y="2322742"/>
                </a:cubicBezTo>
                <a:cubicBezTo>
                  <a:pt x="5599934" y="2368800"/>
                  <a:pt x="5618357" y="2428674"/>
                  <a:pt x="5632173" y="2470124"/>
                </a:cubicBezTo>
                <a:cubicBezTo>
                  <a:pt x="5632173" y="2470124"/>
                  <a:pt x="5632173" y="2470124"/>
                  <a:pt x="5627568" y="2470124"/>
                </a:cubicBezTo>
                <a:cubicBezTo>
                  <a:pt x="5627568" y="2470124"/>
                  <a:pt x="5627568" y="2474730"/>
                  <a:pt x="5627568" y="2474730"/>
                </a:cubicBezTo>
                <a:cubicBezTo>
                  <a:pt x="5627568" y="2474730"/>
                  <a:pt x="5632172" y="2479336"/>
                  <a:pt x="5632172" y="2479336"/>
                </a:cubicBezTo>
                <a:cubicBezTo>
                  <a:pt x="5636779" y="2493153"/>
                  <a:pt x="5641385" y="2543816"/>
                  <a:pt x="5645991" y="2529999"/>
                </a:cubicBezTo>
                <a:cubicBezTo>
                  <a:pt x="5645991" y="2534604"/>
                  <a:pt x="5645991" y="2534604"/>
                  <a:pt x="5645991" y="2534604"/>
                </a:cubicBezTo>
                <a:cubicBezTo>
                  <a:pt x="5645991" y="2539210"/>
                  <a:pt x="5645991" y="2539210"/>
                  <a:pt x="5645991" y="2539210"/>
                </a:cubicBezTo>
                <a:cubicBezTo>
                  <a:pt x="5650597" y="2539210"/>
                  <a:pt x="5650597" y="2539210"/>
                  <a:pt x="5650597" y="2539210"/>
                </a:cubicBezTo>
                <a:cubicBezTo>
                  <a:pt x="5650597" y="2534604"/>
                  <a:pt x="5650597" y="2534604"/>
                  <a:pt x="5650597" y="2534604"/>
                </a:cubicBezTo>
                <a:cubicBezTo>
                  <a:pt x="5659808" y="2529999"/>
                  <a:pt x="5655203" y="2548422"/>
                  <a:pt x="5655202" y="2553027"/>
                </a:cubicBezTo>
                <a:cubicBezTo>
                  <a:pt x="5659808" y="2543816"/>
                  <a:pt x="5669019" y="2571450"/>
                  <a:pt x="5664414" y="2553026"/>
                </a:cubicBezTo>
                <a:cubicBezTo>
                  <a:pt x="5659808" y="2553027"/>
                  <a:pt x="5659808" y="2539210"/>
                  <a:pt x="5659808" y="2539210"/>
                </a:cubicBezTo>
                <a:cubicBezTo>
                  <a:pt x="5664414" y="2548422"/>
                  <a:pt x="5664414" y="2543816"/>
                  <a:pt x="5664414" y="2539210"/>
                </a:cubicBezTo>
                <a:cubicBezTo>
                  <a:pt x="5655203" y="2534604"/>
                  <a:pt x="5655203" y="2516181"/>
                  <a:pt x="5645991" y="2502365"/>
                </a:cubicBezTo>
                <a:cubicBezTo>
                  <a:pt x="5645991" y="2502365"/>
                  <a:pt x="5645991" y="2497759"/>
                  <a:pt x="5645991" y="2493153"/>
                </a:cubicBezTo>
                <a:cubicBezTo>
                  <a:pt x="5645991" y="2493153"/>
                  <a:pt x="5645991" y="2488548"/>
                  <a:pt x="5645991" y="2488548"/>
                </a:cubicBezTo>
                <a:cubicBezTo>
                  <a:pt x="5645991" y="2483941"/>
                  <a:pt x="5645991" y="2483941"/>
                  <a:pt x="5645991" y="2483941"/>
                </a:cubicBezTo>
                <a:cubicBezTo>
                  <a:pt x="5645991" y="2483941"/>
                  <a:pt x="5641384" y="2483942"/>
                  <a:pt x="5641384" y="2483942"/>
                </a:cubicBezTo>
                <a:cubicBezTo>
                  <a:pt x="5641385" y="2479335"/>
                  <a:pt x="5641385" y="2479335"/>
                  <a:pt x="5641385" y="2474730"/>
                </a:cubicBezTo>
                <a:cubicBezTo>
                  <a:pt x="5645991" y="2470124"/>
                  <a:pt x="5645990" y="2479336"/>
                  <a:pt x="5650597" y="2479337"/>
                </a:cubicBezTo>
                <a:cubicBezTo>
                  <a:pt x="5650597" y="2470125"/>
                  <a:pt x="5645991" y="2470124"/>
                  <a:pt x="5645991" y="2465519"/>
                </a:cubicBezTo>
                <a:cubicBezTo>
                  <a:pt x="5645991" y="2465519"/>
                  <a:pt x="5645991" y="2465519"/>
                  <a:pt x="5645991" y="2460912"/>
                </a:cubicBezTo>
                <a:cubicBezTo>
                  <a:pt x="5645991" y="2460912"/>
                  <a:pt x="5645991" y="2456307"/>
                  <a:pt x="5645991" y="2456307"/>
                </a:cubicBezTo>
                <a:cubicBezTo>
                  <a:pt x="5645991" y="2451702"/>
                  <a:pt x="5645991" y="2451702"/>
                  <a:pt x="5645991" y="2451702"/>
                </a:cubicBezTo>
                <a:cubicBezTo>
                  <a:pt x="5641384" y="2433279"/>
                  <a:pt x="5641384" y="2433279"/>
                  <a:pt x="5641384" y="2433279"/>
                </a:cubicBezTo>
                <a:cubicBezTo>
                  <a:pt x="5636779" y="2428674"/>
                  <a:pt x="5636779" y="2428674"/>
                  <a:pt x="5636779" y="2428674"/>
                </a:cubicBezTo>
                <a:cubicBezTo>
                  <a:pt x="5641385" y="2424068"/>
                  <a:pt x="5636779" y="2424067"/>
                  <a:pt x="5636779" y="2424067"/>
                </a:cubicBezTo>
                <a:lnTo>
                  <a:pt x="5636779" y="2428674"/>
                </a:lnTo>
                <a:cubicBezTo>
                  <a:pt x="5627567" y="2401039"/>
                  <a:pt x="5627568" y="2410251"/>
                  <a:pt x="5622963" y="2382617"/>
                </a:cubicBezTo>
                <a:cubicBezTo>
                  <a:pt x="5622963" y="2378010"/>
                  <a:pt x="5622963" y="2378010"/>
                  <a:pt x="5622962" y="2373405"/>
                </a:cubicBezTo>
                <a:cubicBezTo>
                  <a:pt x="5618357" y="2368800"/>
                  <a:pt x="5618357" y="2368800"/>
                  <a:pt x="5618357" y="2373404"/>
                </a:cubicBezTo>
                <a:cubicBezTo>
                  <a:pt x="5618357" y="2359588"/>
                  <a:pt x="5613751" y="2336560"/>
                  <a:pt x="5604540" y="2331954"/>
                </a:cubicBezTo>
                <a:cubicBezTo>
                  <a:pt x="5609145" y="2341165"/>
                  <a:pt x="5604539" y="2341166"/>
                  <a:pt x="5599934" y="2331954"/>
                </a:cubicBezTo>
                <a:lnTo>
                  <a:pt x="5599934" y="2327348"/>
                </a:lnTo>
                <a:cubicBezTo>
                  <a:pt x="5604539" y="2327348"/>
                  <a:pt x="5604539" y="2327348"/>
                  <a:pt x="5604539" y="2327348"/>
                </a:cubicBezTo>
                <a:cubicBezTo>
                  <a:pt x="5604539" y="2327348"/>
                  <a:pt x="5604539" y="2327348"/>
                  <a:pt x="5604540" y="2322742"/>
                </a:cubicBezTo>
                <a:cubicBezTo>
                  <a:pt x="5604540" y="2322742"/>
                  <a:pt x="5604540" y="2322742"/>
                  <a:pt x="5599934" y="2318137"/>
                </a:cubicBezTo>
                <a:cubicBezTo>
                  <a:pt x="5599934" y="2290503"/>
                  <a:pt x="5567693" y="2221417"/>
                  <a:pt x="5558482" y="2189178"/>
                </a:cubicBezTo>
                <a:cubicBezTo>
                  <a:pt x="5553876" y="2170755"/>
                  <a:pt x="5558482" y="2166149"/>
                  <a:pt x="5549271" y="2152332"/>
                </a:cubicBezTo>
                <a:cubicBezTo>
                  <a:pt x="5549271" y="2143121"/>
                  <a:pt x="5540059" y="2138515"/>
                  <a:pt x="5535454" y="2129303"/>
                </a:cubicBezTo>
                <a:cubicBezTo>
                  <a:pt x="5530848" y="2110880"/>
                  <a:pt x="5530848" y="2097063"/>
                  <a:pt x="5517031" y="2092458"/>
                </a:cubicBezTo>
                <a:cubicBezTo>
                  <a:pt x="5489397" y="2004950"/>
                  <a:pt x="5438734" y="1908229"/>
                  <a:pt x="5388072" y="1825328"/>
                </a:cubicBezTo>
                <a:cubicBezTo>
                  <a:pt x="5392677" y="1820721"/>
                  <a:pt x="5392677" y="1820721"/>
                  <a:pt x="5392676" y="1816116"/>
                </a:cubicBezTo>
                <a:cubicBezTo>
                  <a:pt x="5392676" y="1816116"/>
                  <a:pt x="5392677" y="1820721"/>
                  <a:pt x="5392677" y="1820721"/>
                </a:cubicBezTo>
                <a:cubicBezTo>
                  <a:pt x="5397282" y="1820722"/>
                  <a:pt x="5397282" y="1820722"/>
                  <a:pt x="5397282" y="1820722"/>
                </a:cubicBezTo>
                <a:cubicBezTo>
                  <a:pt x="5397282" y="1820722"/>
                  <a:pt x="5397282" y="1816116"/>
                  <a:pt x="5392676" y="1811511"/>
                </a:cubicBezTo>
                <a:cubicBezTo>
                  <a:pt x="5392676" y="1806905"/>
                  <a:pt x="5397282" y="1806905"/>
                  <a:pt x="5392676" y="1797694"/>
                </a:cubicBezTo>
                <a:cubicBezTo>
                  <a:pt x="5388071" y="1802299"/>
                  <a:pt x="5383465" y="1797694"/>
                  <a:pt x="5374253" y="1783876"/>
                </a:cubicBezTo>
                <a:cubicBezTo>
                  <a:pt x="5374253" y="1779272"/>
                  <a:pt x="5374253" y="1779272"/>
                  <a:pt x="5374253" y="1779272"/>
                </a:cubicBezTo>
                <a:cubicBezTo>
                  <a:pt x="5374253" y="1779272"/>
                  <a:pt x="5369649" y="1779272"/>
                  <a:pt x="5369648" y="1774665"/>
                </a:cubicBezTo>
                <a:cubicBezTo>
                  <a:pt x="5369648" y="1774665"/>
                  <a:pt x="5369648" y="1770060"/>
                  <a:pt x="5369648" y="1770060"/>
                </a:cubicBezTo>
                <a:cubicBezTo>
                  <a:pt x="5365042" y="1770060"/>
                  <a:pt x="5365042" y="1770060"/>
                  <a:pt x="5365042" y="1770060"/>
                </a:cubicBezTo>
                <a:cubicBezTo>
                  <a:pt x="5365042" y="1765454"/>
                  <a:pt x="5365042" y="1765454"/>
                  <a:pt x="5360436" y="1760848"/>
                </a:cubicBezTo>
                <a:cubicBezTo>
                  <a:pt x="5365043" y="1751637"/>
                  <a:pt x="5346619" y="1737820"/>
                  <a:pt x="5351226" y="1737820"/>
                </a:cubicBezTo>
                <a:cubicBezTo>
                  <a:pt x="5351226" y="1737820"/>
                  <a:pt x="5355831" y="1737820"/>
                  <a:pt x="5355831" y="1737820"/>
                </a:cubicBezTo>
                <a:cubicBezTo>
                  <a:pt x="5355831" y="1742424"/>
                  <a:pt x="5360437" y="1742425"/>
                  <a:pt x="5360437" y="1742425"/>
                </a:cubicBezTo>
                <a:cubicBezTo>
                  <a:pt x="5360436" y="1737820"/>
                  <a:pt x="5355831" y="1737820"/>
                  <a:pt x="5355831" y="1733214"/>
                </a:cubicBezTo>
                <a:cubicBezTo>
                  <a:pt x="5355831" y="1733214"/>
                  <a:pt x="5351225" y="1728608"/>
                  <a:pt x="5351225" y="1728608"/>
                </a:cubicBezTo>
                <a:cubicBezTo>
                  <a:pt x="5346619" y="1719397"/>
                  <a:pt x="5342013" y="1710186"/>
                  <a:pt x="5337408" y="1710186"/>
                </a:cubicBezTo>
                <a:cubicBezTo>
                  <a:pt x="5337408" y="1710186"/>
                  <a:pt x="5337408" y="1710186"/>
                  <a:pt x="5337408" y="1705580"/>
                </a:cubicBezTo>
                <a:cubicBezTo>
                  <a:pt x="5337408" y="1705580"/>
                  <a:pt x="5337408" y="1700974"/>
                  <a:pt x="5332803" y="1696368"/>
                </a:cubicBezTo>
                <a:cubicBezTo>
                  <a:pt x="5332803" y="1696368"/>
                  <a:pt x="5328196" y="1696368"/>
                  <a:pt x="5328196" y="1696368"/>
                </a:cubicBezTo>
                <a:cubicBezTo>
                  <a:pt x="5328196" y="1696368"/>
                  <a:pt x="5328196" y="1700974"/>
                  <a:pt x="5328196" y="1700974"/>
                </a:cubicBezTo>
                <a:cubicBezTo>
                  <a:pt x="5328196" y="1696368"/>
                  <a:pt x="5328196" y="1691764"/>
                  <a:pt x="5323591" y="1687157"/>
                </a:cubicBezTo>
                <a:cubicBezTo>
                  <a:pt x="5323590" y="1691763"/>
                  <a:pt x="5318986" y="1691763"/>
                  <a:pt x="5314379" y="1687157"/>
                </a:cubicBezTo>
                <a:cubicBezTo>
                  <a:pt x="5318985" y="1687156"/>
                  <a:pt x="5314380" y="1682552"/>
                  <a:pt x="5314379" y="1677946"/>
                </a:cubicBezTo>
                <a:cubicBezTo>
                  <a:pt x="5309773" y="1673340"/>
                  <a:pt x="5309773" y="1673340"/>
                  <a:pt x="5309773" y="1673340"/>
                </a:cubicBezTo>
                <a:cubicBezTo>
                  <a:pt x="5309773" y="1668734"/>
                  <a:pt x="5309773" y="1668734"/>
                  <a:pt x="5309773" y="1668734"/>
                </a:cubicBezTo>
                <a:cubicBezTo>
                  <a:pt x="5305168" y="1668734"/>
                  <a:pt x="5305168" y="1668734"/>
                  <a:pt x="5305168" y="1668734"/>
                </a:cubicBezTo>
                <a:cubicBezTo>
                  <a:pt x="5305168" y="1668734"/>
                  <a:pt x="5305168" y="1668734"/>
                  <a:pt x="5305168" y="1673340"/>
                </a:cubicBezTo>
                <a:cubicBezTo>
                  <a:pt x="5291350" y="1650312"/>
                  <a:pt x="5277534" y="1627283"/>
                  <a:pt x="5268323" y="1622678"/>
                </a:cubicBezTo>
                <a:cubicBezTo>
                  <a:pt x="5263716" y="1618072"/>
                  <a:pt x="5263716" y="1618072"/>
                  <a:pt x="5263716" y="1613466"/>
                </a:cubicBezTo>
                <a:cubicBezTo>
                  <a:pt x="5259110" y="1608860"/>
                  <a:pt x="5259110" y="1608860"/>
                  <a:pt x="5254506" y="1608860"/>
                </a:cubicBezTo>
                <a:lnTo>
                  <a:pt x="5254505" y="1612476"/>
                </a:lnTo>
                <a:lnTo>
                  <a:pt x="5242703" y="1598138"/>
                </a:lnTo>
                <a:cubicBezTo>
                  <a:pt x="5229750" y="1581514"/>
                  <a:pt x="5224568" y="1572015"/>
                  <a:pt x="5203842" y="1544381"/>
                </a:cubicBezTo>
                <a:cubicBezTo>
                  <a:pt x="5190024" y="1535169"/>
                  <a:pt x="5185420" y="1530563"/>
                  <a:pt x="5180813" y="1530563"/>
                </a:cubicBezTo>
                <a:cubicBezTo>
                  <a:pt x="5180813" y="1525958"/>
                  <a:pt x="5185420" y="1525958"/>
                  <a:pt x="5180813" y="1516747"/>
                </a:cubicBezTo>
                <a:cubicBezTo>
                  <a:pt x="5171602" y="1516746"/>
                  <a:pt x="5171602" y="1502929"/>
                  <a:pt x="5157784" y="1489112"/>
                </a:cubicBezTo>
                <a:cubicBezTo>
                  <a:pt x="5143967" y="1475295"/>
                  <a:pt x="5153180" y="1498324"/>
                  <a:pt x="5139362" y="1479901"/>
                </a:cubicBezTo>
                <a:cubicBezTo>
                  <a:pt x="5153179" y="1489112"/>
                  <a:pt x="5139362" y="1470690"/>
                  <a:pt x="5125544" y="1456872"/>
                </a:cubicBezTo>
                <a:cubicBezTo>
                  <a:pt x="5130150" y="1456872"/>
                  <a:pt x="5130150" y="1456872"/>
                  <a:pt x="5130150" y="1456872"/>
                </a:cubicBezTo>
                <a:cubicBezTo>
                  <a:pt x="5134756" y="1461478"/>
                  <a:pt x="5139363" y="1466084"/>
                  <a:pt x="5139362" y="1461478"/>
                </a:cubicBezTo>
                <a:cubicBezTo>
                  <a:pt x="5139362" y="1461478"/>
                  <a:pt x="5139362" y="1456872"/>
                  <a:pt x="5134756" y="1452267"/>
                </a:cubicBezTo>
                <a:cubicBezTo>
                  <a:pt x="5130150" y="1447661"/>
                  <a:pt x="5130150" y="1447661"/>
                  <a:pt x="5130150" y="1447661"/>
                </a:cubicBezTo>
                <a:cubicBezTo>
                  <a:pt x="5134756" y="1447661"/>
                  <a:pt x="5139362" y="1461478"/>
                  <a:pt x="5143967" y="1456872"/>
                </a:cubicBezTo>
                <a:cubicBezTo>
                  <a:pt x="5134756" y="1447661"/>
                  <a:pt x="5130150" y="1438450"/>
                  <a:pt x="5125544" y="1438450"/>
                </a:cubicBezTo>
                <a:cubicBezTo>
                  <a:pt x="5120940" y="1438450"/>
                  <a:pt x="5120940" y="1438450"/>
                  <a:pt x="5120939" y="1433844"/>
                </a:cubicBezTo>
                <a:cubicBezTo>
                  <a:pt x="5116334" y="1429238"/>
                  <a:pt x="5111727" y="1424633"/>
                  <a:pt x="5107121" y="1424633"/>
                </a:cubicBezTo>
                <a:cubicBezTo>
                  <a:pt x="5107121" y="1424633"/>
                  <a:pt x="5107121" y="1429238"/>
                  <a:pt x="5111727" y="1433845"/>
                </a:cubicBezTo>
                <a:cubicBezTo>
                  <a:pt x="5111727" y="1438450"/>
                  <a:pt x="5111727" y="1438450"/>
                  <a:pt x="5111727" y="1438450"/>
                </a:cubicBezTo>
                <a:cubicBezTo>
                  <a:pt x="5102516" y="1433844"/>
                  <a:pt x="5102516" y="1443055"/>
                  <a:pt x="5097910" y="1424633"/>
                </a:cubicBezTo>
                <a:cubicBezTo>
                  <a:pt x="5093304" y="1429238"/>
                  <a:pt x="5102516" y="1438450"/>
                  <a:pt x="5102516" y="1443055"/>
                </a:cubicBezTo>
                <a:cubicBezTo>
                  <a:pt x="5088699" y="1424633"/>
                  <a:pt x="5093304" y="1420027"/>
                  <a:pt x="5084093" y="1410816"/>
                </a:cubicBezTo>
                <a:cubicBezTo>
                  <a:pt x="5088700" y="1410816"/>
                  <a:pt x="5088700" y="1415421"/>
                  <a:pt x="5088700" y="1415421"/>
                </a:cubicBezTo>
                <a:cubicBezTo>
                  <a:pt x="5093304" y="1420027"/>
                  <a:pt x="5093304" y="1420027"/>
                  <a:pt x="5097910" y="1415421"/>
                </a:cubicBezTo>
                <a:cubicBezTo>
                  <a:pt x="5097910" y="1415421"/>
                  <a:pt x="5093304" y="1410816"/>
                  <a:pt x="5088699" y="1406211"/>
                </a:cubicBezTo>
                <a:cubicBezTo>
                  <a:pt x="5097910" y="1410817"/>
                  <a:pt x="5097910" y="1406210"/>
                  <a:pt x="5088699" y="1401604"/>
                </a:cubicBezTo>
                <a:cubicBezTo>
                  <a:pt x="5088700" y="1396998"/>
                  <a:pt x="5088700" y="1396998"/>
                  <a:pt x="5088700" y="1396998"/>
                </a:cubicBezTo>
                <a:cubicBezTo>
                  <a:pt x="5093304" y="1401604"/>
                  <a:pt x="5093304" y="1396998"/>
                  <a:pt x="5093304" y="1396998"/>
                </a:cubicBezTo>
                <a:cubicBezTo>
                  <a:pt x="5088699" y="1392392"/>
                  <a:pt x="5088699" y="1392392"/>
                  <a:pt x="5084093" y="1392393"/>
                </a:cubicBezTo>
                <a:cubicBezTo>
                  <a:pt x="5084093" y="1387788"/>
                  <a:pt x="5084093" y="1387788"/>
                  <a:pt x="5079487" y="1387787"/>
                </a:cubicBezTo>
                <a:cubicBezTo>
                  <a:pt x="5074882" y="1378576"/>
                  <a:pt x="5074882" y="1378576"/>
                  <a:pt x="5070277" y="1369364"/>
                </a:cubicBezTo>
                <a:cubicBezTo>
                  <a:pt x="5074881" y="1373970"/>
                  <a:pt x="5074881" y="1373970"/>
                  <a:pt x="5074881" y="1373970"/>
                </a:cubicBezTo>
                <a:cubicBezTo>
                  <a:pt x="5079487" y="1378576"/>
                  <a:pt x="5084093" y="1378576"/>
                  <a:pt x="5084093" y="1378576"/>
                </a:cubicBezTo>
                <a:cubicBezTo>
                  <a:pt x="5084093" y="1373971"/>
                  <a:pt x="5079487" y="1369364"/>
                  <a:pt x="5074881" y="1364759"/>
                </a:cubicBezTo>
                <a:cubicBezTo>
                  <a:pt x="5070276" y="1360153"/>
                  <a:pt x="5070276" y="1360153"/>
                  <a:pt x="5070276" y="1360153"/>
                </a:cubicBezTo>
                <a:cubicBezTo>
                  <a:pt x="5065670" y="1355547"/>
                  <a:pt x="5065670" y="1355547"/>
                  <a:pt x="5065670" y="1355547"/>
                </a:cubicBezTo>
                <a:cubicBezTo>
                  <a:pt x="5061064" y="1350941"/>
                  <a:pt x="5056459" y="1350941"/>
                  <a:pt x="5056459" y="1355548"/>
                </a:cubicBezTo>
                <a:cubicBezTo>
                  <a:pt x="5056459" y="1355548"/>
                  <a:pt x="5056459" y="1360153"/>
                  <a:pt x="5061064" y="1364759"/>
                </a:cubicBezTo>
                <a:cubicBezTo>
                  <a:pt x="5061064" y="1364759"/>
                  <a:pt x="5061064" y="1364759"/>
                  <a:pt x="5065670" y="1364759"/>
                </a:cubicBezTo>
                <a:cubicBezTo>
                  <a:pt x="5070277" y="1369364"/>
                  <a:pt x="5070277" y="1369364"/>
                  <a:pt x="5070277" y="1369364"/>
                </a:cubicBezTo>
                <a:cubicBezTo>
                  <a:pt x="5047247" y="1360153"/>
                  <a:pt x="5065671" y="1373971"/>
                  <a:pt x="5074881" y="1387787"/>
                </a:cubicBezTo>
                <a:cubicBezTo>
                  <a:pt x="5070276" y="1383181"/>
                  <a:pt x="5070276" y="1383181"/>
                  <a:pt x="5070276" y="1383181"/>
                </a:cubicBezTo>
                <a:cubicBezTo>
                  <a:pt x="5070276" y="1383181"/>
                  <a:pt x="5070277" y="1387787"/>
                  <a:pt x="5070277" y="1387787"/>
                </a:cubicBezTo>
                <a:cubicBezTo>
                  <a:pt x="5070277" y="1387787"/>
                  <a:pt x="5070277" y="1387787"/>
                  <a:pt x="5070276" y="1392392"/>
                </a:cubicBezTo>
                <a:cubicBezTo>
                  <a:pt x="5074881" y="1392392"/>
                  <a:pt x="5074881" y="1392392"/>
                  <a:pt x="5074881" y="1392392"/>
                </a:cubicBezTo>
                <a:cubicBezTo>
                  <a:pt x="5079487" y="1396999"/>
                  <a:pt x="5079487" y="1396999"/>
                  <a:pt x="5079487" y="1396999"/>
                </a:cubicBezTo>
                <a:cubicBezTo>
                  <a:pt x="5074881" y="1396998"/>
                  <a:pt x="5074881" y="1396998"/>
                  <a:pt x="5074881" y="1396998"/>
                </a:cubicBezTo>
                <a:cubicBezTo>
                  <a:pt x="5074881" y="1396998"/>
                  <a:pt x="5074881" y="1401604"/>
                  <a:pt x="5079487" y="1401604"/>
                </a:cubicBezTo>
                <a:cubicBezTo>
                  <a:pt x="5079487" y="1406210"/>
                  <a:pt x="5079487" y="1406210"/>
                  <a:pt x="5079487" y="1406210"/>
                </a:cubicBezTo>
                <a:cubicBezTo>
                  <a:pt x="5065670" y="1401604"/>
                  <a:pt x="5061064" y="1392393"/>
                  <a:pt x="5047247" y="1373970"/>
                </a:cubicBezTo>
                <a:cubicBezTo>
                  <a:pt x="5051853" y="1373970"/>
                  <a:pt x="5051853" y="1373970"/>
                  <a:pt x="5051853" y="1373970"/>
                </a:cubicBezTo>
                <a:cubicBezTo>
                  <a:pt x="5056459" y="1373970"/>
                  <a:pt x="5056459" y="1373970"/>
                  <a:pt x="5056459" y="1373970"/>
                </a:cubicBezTo>
                <a:cubicBezTo>
                  <a:pt x="5051853" y="1369364"/>
                  <a:pt x="5051853" y="1369364"/>
                  <a:pt x="5051853" y="1369364"/>
                </a:cubicBezTo>
                <a:cubicBezTo>
                  <a:pt x="5047247" y="1369364"/>
                  <a:pt x="5047247" y="1369364"/>
                  <a:pt x="5047247" y="1369364"/>
                </a:cubicBezTo>
                <a:cubicBezTo>
                  <a:pt x="5042641" y="1364759"/>
                  <a:pt x="5042641" y="1364759"/>
                  <a:pt x="5042641" y="1364759"/>
                </a:cubicBezTo>
                <a:cubicBezTo>
                  <a:pt x="5038037" y="1360153"/>
                  <a:pt x="5042641" y="1355548"/>
                  <a:pt x="5033430" y="1346336"/>
                </a:cubicBezTo>
                <a:cubicBezTo>
                  <a:pt x="5033430" y="1341730"/>
                  <a:pt x="5033430" y="1341730"/>
                  <a:pt x="5033430" y="1341730"/>
                </a:cubicBezTo>
                <a:cubicBezTo>
                  <a:pt x="5028824" y="1341730"/>
                  <a:pt x="5028824" y="1337124"/>
                  <a:pt x="5028824" y="1337124"/>
                </a:cubicBezTo>
                <a:cubicBezTo>
                  <a:pt x="5024218" y="1337124"/>
                  <a:pt x="5024218" y="1337124"/>
                  <a:pt x="5024218" y="1337124"/>
                </a:cubicBezTo>
                <a:cubicBezTo>
                  <a:pt x="5024218" y="1341730"/>
                  <a:pt x="5024218" y="1341730"/>
                  <a:pt x="5024218" y="1341730"/>
                </a:cubicBezTo>
                <a:cubicBezTo>
                  <a:pt x="5015007" y="1332519"/>
                  <a:pt x="5015007" y="1318702"/>
                  <a:pt x="5005796" y="1318702"/>
                </a:cubicBezTo>
                <a:cubicBezTo>
                  <a:pt x="5005796" y="1318702"/>
                  <a:pt x="5001190" y="1318702"/>
                  <a:pt x="5001190" y="1314096"/>
                </a:cubicBezTo>
                <a:cubicBezTo>
                  <a:pt x="5001190" y="1314096"/>
                  <a:pt x="4996584" y="1314096"/>
                  <a:pt x="4996584" y="1314096"/>
                </a:cubicBezTo>
                <a:cubicBezTo>
                  <a:pt x="4996584" y="1318703"/>
                  <a:pt x="4996584" y="1318703"/>
                  <a:pt x="4996584" y="1318703"/>
                </a:cubicBezTo>
                <a:cubicBezTo>
                  <a:pt x="4978161" y="1286462"/>
                  <a:pt x="4987374" y="1309490"/>
                  <a:pt x="4978161" y="1309490"/>
                </a:cubicBezTo>
                <a:cubicBezTo>
                  <a:pt x="4973555" y="1291067"/>
                  <a:pt x="4945921" y="1263433"/>
                  <a:pt x="4922893" y="1240405"/>
                </a:cubicBezTo>
                <a:cubicBezTo>
                  <a:pt x="4918288" y="1245010"/>
                  <a:pt x="4918288" y="1245010"/>
                  <a:pt x="4918288" y="1245010"/>
                </a:cubicBezTo>
                <a:cubicBezTo>
                  <a:pt x="4918287" y="1240405"/>
                  <a:pt x="4918287" y="1240405"/>
                  <a:pt x="4918287" y="1240405"/>
                </a:cubicBezTo>
                <a:cubicBezTo>
                  <a:pt x="4918287" y="1240405"/>
                  <a:pt x="4918287" y="1235799"/>
                  <a:pt x="4913681" y="1235799"/>
                </a:cubicBezTo>
                <a:cubicBezTo>
                  <a:pt x="4913681" y="1235799"/>
                  <a:pt x="4913681" y="1240405"/>
                  <a:pt x="4913681" y="1240405"/>
                </a:cubicBezTo>
                <a:cubicBezTo>
                  <a:pt x="4899864" y="1226588"/>
                  <a:pt x="4890652" y="1208165"/>
                  <a:pt x="4886048" y="1198954"/>
                </a:cubicBezTo>
                <a:cubicBezTo>
                  <a:pt x="4881441" y="1203559"/>
                  <a:pt x="4881441" y="1208165"/>
                  <a:pt x="4876835" y="1203559"/>
                </a:cubicBezTo>
                <a:cubicBezTo>
                  <a:pt x="4876835" y="1198954"/>
                  <a:pt x="4876835" y="1198954"/>
                  <a:pt x="4872230" y="1194348"/>
                </a:cubicBezTo>
                <a:cubicBezTo>
                  <a:pt x="4867624" y="1198954"/>
                  <a:pt x="4867624" y="1194348"/>
                  <a:pt x="4863018" y="1185137"/>
                </a:cubicBezTo>
                <a:cubicBezTo>
                  <a:pt x="4863018" y="1185137"/>
                  <a:pt x="4863018" y="1185137"/>
                  <a:pt x="4867624" y="1185137"/>
                </a:cubicBezTo>
                <a:cubicBezTo>
                  <a:pt x="4867624" y="1185137"/>
                  <a:pt x="4867624" y="1185137"/>
                  <a:pt x="4867624" y="1180530"/>
                </a:cubicBezTo>
                <a:cubicBezTo>
                  <a:pt x="4863018" y="1180531"/>
                  <a:pt x="4863018" y="1175925"/>
                  <a:pt x="4858412" y="1175925"/>
                </a:cubicBezTo>
                <a:cubicBezTo>
                  <a:pt x="4858412" y="1175925"/>
                  <a:pt x="4853807" y="1175925"/>
                  <a:pt x="4853807" y="1175925"/>
                </a:cubicBezTo>
                <a:cubicBezTo>
                  <a:pt x="4853807" y="1166714"/>
                  <a:pt x="4812355" y="1139080"/>
                  <a:pt x="4821567" y="1148291"/>
                </a:cubicBezTo>
                <a:cubicBezTo>
                  <a:pt x="4835384" y="1148291"/>
                  <a:pt x="4816961" y="1166714"/>
                  <a:pt x="4830778" y="1162108"/>
                </a:cubicBezTo>
                <a:cubicBezTo>
                  <a:pt x="4835384" y="1157503"/>
                  <a:pt x="4844595" y="1162109"/>
                  <a:pt x="4849201" y="1171319"/>
                </a:cubicBezTo>
                <a:cubicBezTo>
                  <a:pt x="4844596" y="1171319"/>
                  <a:pt x="4844596" y="1171319"/>
                  <a:pt x="4844595" y="1166714"/>
                </a:cubicBezTo>
                <a:cubicBezTo>
                  <a:pt x="4839989" y="1166714"/>
                  <a:pt x="4839989" y="1166714"/>
                  <a:pt x="4839989" y="1166714"/>
                </a:cubicBezTo>
                <a:cubicBezTo>
                  <a:pt x="4835384" y="1166714"/>
                  <a:pt x="4839989" y="1171319"/>
                  <a:pt x="4839989" y="1171319"/>
                </a:cubicBezTo>
                <a:cubicBezTo>
                  <a:pt x="4844595" y="1175925"/>
                  <a:pt x="4844595" y="1175925"/>
                  <a:pt x="4844595" y="1175925"/>
                </a:cubicBezTo>
                <a:cubicBezTo>
                  <a:pt x="4839990" y="1175925"/>
                  <a:pt x="4839990" y="1175925"/>
                  <a:pt x="4839990" y="1175925"/>
                </a:cubicBezTo>
                <a:cubicBezTo>
                  <a:pt x="4839989" y="1171319"/>
                  <a:pt x="4835384" y="1171320"/>
                  <a:pt x="4835384" y="1171320"/>
                </a:cubicBezTo>
                <a:cubicBezTo>
                  <a:pt x="4835384" y="1171320"/>
                  <a:pt x="4835384" y="1175925"/>
                  <a:pt x="4835384" y="1175925"/>
                </a:cubicBezTo>
                <a:cubicBezTo>
                  <a:pt x="4839989" y="1180531"/>
                  <a:pt x="4839989" y="1180531"/>
                  <a:pt x="4839989" y="1180531"/>
                </a:cubicBezTo>
                <a:cubicBezTo>
                  <a:pt x="4844596" y="1185137"/>
                  <a:pt x="4844596" y="1185137"/>
                  <a:pt x="4844596" y="1185137"/>
                </a:cubicBezTo>
                <a:cubicBezTo>
                  <a:pt x="4844596" y="1185137"/>
                  <a:pt x="4835385" y="1180531"/>
                  <a:pt x="4835385" y="1180531"/>
                </a:cubicBezTo>
                <a:cubicBezTo>
                  <a:pt x="4830778" y="1175925"/>
                  <a:pt x="4830778" y="1175925"/>
                  <a:pt x="4830778" y="1175925"/>
                </a:cubicBezTo>
                <a:cubicBezTo>
                  <a:pt x="4826172" y="1171319"/>
                  <a:pt x="4826172" y="1171319"/>
                  <a:pt x="4826172" y="1171319"/>
                </a:cubicBezTo>
                <a:cubicBezTo>
                  <a:pt x="4826172" y="1166714"/>
                  <a:pt x="4821567" y="1162108"/>
                  <a:pt x="4816961" y="1162108"/>
                </a:cubicBezTo>
                <a:cubicBezTo>
                  <a:pt x="4812356" y="1162108"/>
                  <a:pt x="4812355" y="1166714"/>
                  <a:pt x="4816961" y="1171319"/>
                </a:cubicBezTo>
                <a:cubicBezTo>
                  <a:pt x="4816961" y="1171319"/>
                  <a:pt x="4816961" y="1171319"/>
                  <a:pt x="4816961" y="1175925"/>
                </a:cubicBezTo>
                <a:cubicBezTo>
                  <a:pt x="4803144" y="1162108"/>
                  <a:pt x="4816961" y="1162108"/>
                  <a:pt x="4798538" y="1152898"/>
                </a:cubicBezTo>
                <a:cubicBezTo>
                  <a:pt x="4803144" y="1152897"/>
                  <a:pt x="4803144" y="1152897"/>
                  <a:pt x="4803144" y="1152897"/>
                </a:cubicBezTo>
                <a:cubicBezTo>
                  <a:pt x="4803144" y="1152897"/>
                  <a:pt x="4803144" y="1152897"/>
                  <a:pt x="4803144" y="1148291"/>
                </a:cubicBezTo>
                <a:cubicBezTo>
                  <a:pt x="4798538" y="1148291"/>
                  <a:pt x="4798538" y="1148291"/>
                  <a:pt x="4798538" y="1148291"/>
                </a:cubicBezTo>
                <a:cubicBezTo>
                  <a:pt x="4798538" y="1148291"/>
                  <a:pt x="4793932" y="1148291"/>
                  <a:pt x="4793932" y="1148291"/>
                </a:cubicBezTo>
                <a:cubicBezTo>
                  <a:pt x="4789327" y="1143685"/>
                  <a:pt x="4789327" y="1143685"/>
                  <a:pt x="4789327" y="1143685"/>
                </a:cubicBezTo>
                <a:cubicBezTo>
                  <a:pt x="4784721" y="1139080"/>
                  <a:pt x="4784721" y="1139080"/>
                  <a:pt x="4775509" y="1129868"/>
                </a:cubicBezTo>
                <a:cubicBezTo>
                  <a:pt x="4766298" y="1139080"/>
                  <a:pt x="4747875" y="1116050"/>
                  <a:pt x="4747875" y="1129868"/>
                </a:cubicBezTo>
                <a:cubicBezTo>
                  <a:pt x="4757087" y="1129868"/>
                  <a:pt x="4761693" y="1139081"/>
                  <a:pt x="4770904" y="1143685"/>
                </a:cubicBezTo>
                <a:cubicBezTo>
                  <a:pt x="4761693" y="1139081"/>
                  <a:pt x="4761693" y="1139081"/>
                  <a:pt x="4761692" y="1143685"/>
                </a:cubicBezTo>
                <a:cubicBezTo>
                  <a:pt x="4761692" y="1143685"/>
                  <a:pt x="4761692" y="1143685"/>
                  <a:pt x="4761692" y="1148291"/>
                </a:cubicBezTo>
                <a:cubicBezTo>
                  <a:pt x="4752481" y="1134474"/>
                  <a:pt x="4738664" y="1120658"/>
                  <a:pt x="4724846" y="1111445"/>
                </a:cubicBezTo>
                <a:close/>
                <a:moveTo>
                  <a:pt x="4683983" y="1071646"/>
                </a:moveTo>
                <a:lnTo>
                  <a:pt x="4696187" y="1083818"/>
                </a:lnTo>
                <a:lnTo>
                  <a:pt x="4697212" y="1079206"/>
                </a:lnTo>
                <a:close/>
                <a:moveTo>
                  <a:pt x="4658711" y="1045886"/>
                </a:moveTo>
                <a:lnTo>
                  <a:pt x="4658938" y="1046667"/>
                </a:lnTo>
                <a:lnTo>
                  <a:pt x="4680682" y="1068354"/>
                </a:lnTo>
                <a:lnTo>
                  <a:pt x="4678790" y="1060784"/>
                </a:lnTo>
                <a:cubicBezTo>
                  <a:pt x="4664972" y="1053874"/>
                  <a:pt x="4658927" y="1044375"/>
                  <a:pt x="4658711" y="1045886"/>
                </a:cubicBezTo>
                <a:close/>
                <a:moveTo>
                  <a:pt x="4606321" y="1002574"/>
                </a:moveTo>
                <a:lnTo>
                  <a:pt x="4622386" y="1014210"/>
                </a:lnTo>
                <a:lnTo>
                  <a:pt x="4623521" y="1014726"/>
                </a:lnTo>
                <a:lnTo>
                  <a:pt x="4625380" y="1016379"/>
                </a:lnTo>
                <a:lnTo>
                  <a:pt x="4629000" y="1019001"/>
                </a:lnTo>
                <a:lnTo>
                  <a:pt x="4629349" y="1018612"/>
                </a:lnTo>
                <a:cubicBezTo>
                  <a:pt x="4628702" y="1017317"/>
                  <a:pt x="4626974" y="1014726"/>
                  <a:pt x="4623520" y="1010120"/>
                </a:cubicBezTo>
                <a:cubicBezTo>
                  <a:pt x="4625823" y="1012423"/>
                  <a:pt x="4629278" y="1014726"/>
                  <a:pt x="4631581" y="1015302"/>
                </a:cubicBezTo>
                <a:lnTo>
                  <a:pt x="4632702" y="1010258"/>
                </a:lnTo>
                <a:lnTo>
                  <a:pt x="4632443" y="1010037"/>
                </a:lnTo>
                <a:close/>
                <a:moveTo>
                  <a:pt x="4553154" y="964063"/>
                </a:moveTo>
                <a:lnTo>
                  <a:pt x="4574509" y="979532"/>
                </a:lnTo>
                <a:lnTo>
                  <a:pt x="4572858" y="977880"/>
                </a:lnTo>
                <a:cubicBezTo>
                  <a:pt x="4572858" y="973275"/>
                  <a:pt x="4563646" y="968669"/>
                  <a:pt x="4554434" y="964063"/>
                </a:cubicBezTo>
                <a:close/>
                <a:moveTo>
                  <a:pt x="4531406" y="941035"/>
                </a:moveTo>
                <a:lnTo>
                  <a:pt x="4527186" y="945254"/>
                </a:lnTo>
                <a:lnTo>
                  <a:pt x="4541093" y="955327"/>
                </a:lnTo>
                <a:lnTo>
                  <a:pt x="4536012" y="950246"/>
                </a:lnTo>
                <a:cubicBezTo>
                  <a:pt x="4536012" y="950246"/>
                  <a:pt x="4536012" y="945640"/>
                  <a:pt x="4536012" y="945640"/>
                </a:cubicBezTo>
                <a:cubicBezTo>
                  <a:pt x="4531406" y="941035"/>
                  <a:pt x="4531406" y="941035"/>
                  <a:pt x="4531406" y="941035"/>
                </a:cubicBezTo>
                <a:close/>
                <a:moveTo>
                  <a:pt x="3975166" y="638880"/>
                </a:moveTo>
                <a:lnTo>
                  <a:pt x="4119482" y="702588"/>
                </a:lnTo>
                <a:cubicBezTo>
                  <a:pt x="4152864" y="718895"/>
                  <a:pt x="4184711" y="735903"/>
                  <a:pt x="4219629" y="751511"/>
                </a:cubicBezTo>
                <a:cubicBezTo>
                  <a:pt x="4227032" y="755554"/>
                  <a:pt x="4234299" y="763367"/>
                  <a:pt x="4249652" y="756373"/>
                </a:cubicBezTo>
                <a:cubicBezTo>
                  <a:pt x="4224296" y="737336"/>
                  <a:pt x="4194931" y="724760"/>
                  <a:pt x="4169192" y="708446"/>
                </a:cubicBezTo>
                <a:lnTo>
                  <a:pt x="4160618" y="701438"/>
                </a:lnTo>
                <a:lnTo>
                  <a:pt x="4103065" y="678846"/>
                </a:lnTo>
                <a:close/>
                <a:moveTo>
                  <a:pt x="3094419" y="356112"/>
                </a:moveTo>
                <a:lnTo>
                  <a:pt x="3093392" y="356160"/>
                </a:lnTo>
                <a:lnTo>
                  <a:pt x="3231258" y="366341"/>
                </a:lnTo>
                <a:cubicBezTo>
                  <a:pt x="3326749" y="379095"/>
                  <a:pt x="3420319" y="401876"/>
                  <a:pt x="3513271" y="427372"/>
                </a:cubicBezTo>
                <a:lnTo>
                  <a:pt x="3608222" y="454238"/>
                </a:lnTo>
                <a:lnTo>
                  <a:pt x="3622351" y="456286"/>
                </a:lnTo>
                <a:cubicBezTo>
                  <a:pt x="3906179" y="509251"/>
                  <a:pt x="4176765" y="607121"/>
                  <a:pt x="4425474" y="742990"/>
                </a:cubicBezTo>
                <a:cubicBezTo>
                  <a:pt x="4416263" y="742990"/>
                  <a:pt x="4411657" y="738384"/>
                  <a:pt x="4411657" y="742990"/>
                </a:cubicBezTo>
                <a:cubicBezTo>
                  <a:pt x="4443897" y="770624"/>
                  <a:pt x="4453109" y="766019"/>
                  <a:pt x="4485349" y="779836"/>
                </a:cubicBezTo>
                <a:cubicBezTo>
                  <a:pt x="4512983" y="793653"/>
                  <a:pt x="4545224" y="812075"/>
                  <a:pt x="4572858" y="830498"/>
                </a:cubicBezTo>
                <a:cubicBezTo>
                  <a:pt x="4577463" y="839710"/>
                  <a:pt x="4614309" y="862738"/>
                  <a:pt x="4623520" y="862738"/>
                </a:cubicBezTo>
                <a:cubicBezTo>
                  <a:pt x="4623520" y="867344"/>
                  <a:pt x="4623520" y="867344"/>
                  <a:pt x="4623520" y="867344"/>
                </a:cubicBezTo>
                <a:cubicBezTo>
                  <a:pt x="4628126" y="867343"/>
                  <a:pt x="4628126" y="867343"/>
                  <a:pt x="4628126" y="867343"/>
                </a:cubicBezTo>
                <a:cubicBezTo>
                  <a:pt x="4628127" y="871949"/>
                  <a:pt x="4628127" y="871949"/>
                  <a:pt x="4632732" y="871949"/>
                </a:cubicBezTo>
                <a:cubicBezTo>
                  <a:pt x="4637338" y="871949"/>
                  <a:pt x="4637338" y="871949"/>
                  <a:pt x="4641943" y="876556"/>
                </a:cubicBezTo>
                <a:cubicBezTo>
                  <a:pt x="4646549" y="881162"/>
                  <a:pt x="4660366" y="890373"/>
                  <a:pt x="4664972" y="890372"/>
                </a:cubicBezTo>
                <a:cubicBezTo>
                  <a:pt x="4688001" y="908795"/>
                  <a:pt x="4711029" y="927218"/>
                  <a:pt x="4738664" y="941035"/>
                </a:cubicBezTo>
                <a:cubicBezTo>
                  <a:pt x="4747875" y="950246"/>
                  <a:pt x="4757086" y="959458"/>
                  <a:pt x="4766299" y="964063"/>
                </a:cubicBezTo>
                <a:cubicBezTo>
                  <a:pt x="4789327" y="982486"/>
                  <a:pt x="4812355" y="1000909"/>
                  <a:pt x="4830778" y="1014726"/>
                </a:cubicBezTo>
                <a:cubicBezTo>
                  <a:pt x="4830778" y="1014726"/>
                  <a:pt x="4826172" y="1014726"/>
                  <a:pt x="4826172" y="1014726"/>
                </a:cubicBezTo>
                <a:cubicBezTo>
                  <a:pt x="4830778" y="1019332"/>
                  <a:pt x="4835384" y="1023937"/>
                  <a:pt x="4839989" y="1023937"/>
                </a:cubicBezTo>
                <a:cubicBezTo>
                  <a:pt x="5111727" y="1245010"/>
                  <a:pt x="5342013" y="1521352"/>
                  <a:pt x="5512425" y="1834539"/>
                </a:cubicBezTo>
                <a:cubicBezTo>
                  <a:pt x="5696654" y="2193783"/>
                  <a:pt x="5802585" y="2594478"/>
                  <a:pt x="5811797" y="3022808"/>
                </a:cubicBezTo>
                <a:cubicBezTo>
                  <a:pt x="5807191" y="3022807"/>
                  <a:pt x="5807191" y="3022807"/>
                  <a:pt x="5802585" y="3022808"/>
                </a:cubicBezTo>
                <a:cubicBezTo>
                  <a:pt x="5797980" y="2958328"/>
                  <a:pt x="5770345" y="2930693"/>
                  <a:pt x="5751923" y="2889243"/>
                </a:cubicBezTo>
                <a:cubicBezTo>
                  <a:pt x="5751923" y="2889243"/>
                  <a:pt x="5747317" y="2898454"/>
                  <a:pt x="5747317" y="2907666"/>
                </a:cubicBezTo>
                <a:cubicBezTo>
                  <a:pt x="5738105" y="2889243"/>
                  <a:pt x="5742711" y="2852397"/>
                  <a:pt x="5738105" y="2824763"/>
                </a:cubicBezTo>
                <a:cubicBezTo>
                  <a:pt x="5728894" y="2801735"/>
                  <a:pt x="5715076" y="2764889"/>
                  <a:pt x="5715076" y="2764889"/>
                </a:cubicBezTo>
                <a:cubicBezTo>
                  <a:pt x="5705865" y="2769495"/>
                  <a:pt x="5705865" y="2787918"/>
                  <a:pt x="5705865" y="2810946"/>
                </a:cubicBezTo>
                <a:cubicBezTo>
                  <a:pt x="5701259" y="2810946"/>
                  <a:pt x="5701259" y="2806340"/>
                  <a:pt x="5701259" y="2806340"/>
                </a:cubicBezTo>
                <a:cubicBezTo>
                  <a:pt x="5701259" y="2801735"/>
                  <a:pt x="5701259" y="2801735"/>
                  <a:pt x="5701259" y="2801735"/>
                </a:cubicBezTo>
                <a:cubicBezTo>
                  <a:pt x="5701259" y="2801735"/>
                  <a:pt x="5701259" y="2797128"/>
                  <a:pt x="5701259" y="2797128"/>
                </a:cubicBezTo>
                <a:cubicBezTo>
                  <a:pt x="5701259" y="2797128"/>
                  <a:pt x="5701259" y="2792523"/>
                  <a:pt x="5701259" y="2787918"/>
                </a:cubicBezTo>
                <a:cubicBezTo>
                  <a:pt x="5696653" y="2787918"/>
                  <a:pt x="5696653" y="2787918"/>
                  <a:pt x="5696654" y="2792523"/>
                </a:cubicBezTo>
                <a:cubicBezTo>
                  <a:pt x="5696654" y="2792523"/>
                  <a:pt x="5696654" y="2797130"/>
                  <a:pt x="5696654" y="2797130"/>
                </a:cubicBezTo>
                <a:cubicBezTo>
                  <a:pt x="5696654" y="2801735"/>
                  <a:pt x="5696654" y="2801735"/>
                  <a:pt x="5696654" y="2801735"/>
                </a:cubicBezTo>
                <a:cubicBezTo>
                  <a:pt x="5687443" y="2774100"/>
                  <a:pt x="5687443" y="2810946"/>
                  <a:pt x="5692048" y="2815552"/>
                </a:cubicBezTo>
                <a:cubicBezTo>
                  <a:pt x="5692048" y="2820156"/>
                  <a:pt x="5696654" y="2820156"/>
                  <a:pt x="5696654" y="2820156"/>
                </a:cubicBezTo>
                <a:cubicBezTo>
                  <a:pt x="5696654" y="2820156"/>
                  <a:pt x="5696654" y="2815552"/>
                  <a:pt x="5696654" y="2815552"/>
                </a:cubicBezTo>
                <a:cubicBezTo>
                  <a:pt x="5701259" y="2810946"/>
                  <a:pt x="5701259" y="2810946"/>
                  <a:pt x="5701259" y="2810946"/>
                </a:cubicBezTo>
                <a:cubicBezTo>
                  <a:pt x="5701259" y="2810946"/>
                  <a:pt x="5701259" y="2820157"/>
                  <a:pt x="5701259" y="2824762"/>
                </a:cubicBezTo>
                <a:cubicBezTo>
                  <a:pt x="5701259" y="2829369"/>
                  <a:pt x="5701259" y="2829369"/>
                  <a:pt x="5701259" y="2829369"/>
                </a:cubicBezTo>
                <a:cubicBezTo>
                  <a:pt x="5701259" y="2861608"/>
                  <a:pt x="5692048" y="2884637"/>
                  <a:pt x="5678230" y="2866214"/>
                </a:cubicBezTo>
                <a:cubicBezTo>
                  <a:pt x="5678231" y="2843186"/>
                  <a:pt x="5673625" y="2843185"/>
                  <a:pt x="5673625" y="2810946"/>
                </a:cubicBezTo>
                <a:cubicBezTo>
                  <a:pt x="5664414" y="2806340"/>
                  <a:pt x="5664414" y="2824762"/>
                  <a:pt x="5655203" y="2829368"/>
                </a:cubicBezTo>
                <a:cubicBezTo>
                  <a:pt x="5641385" y="2787918"/>
                  <a:pt x="5632173" y="2718831"/>
                  <a:pt x="5609145" y="2718832"/>
                </a:cubicBezTo>
                <a:cubicBezTo>
                  <a:pt x="5609145" y="2718832"/>
                  <a:pt x="5609145" y="2714225"/>
                  <a:pt x="5609145" y="2714225"/>
                </a:cubicBezTo>
                <a:cubicBezTo>
                  <a:pt x="5609145" y="2714225"/>
                  <a:pt x="5609145" y="2705015"/>
                  <a:pt x="5609145" y="2705015"/>
                </a:cubicBezTo>
                <a:cubicBezTo>
                  <a:pt x="5604540" y="2700408"/>
                  <a:pt x="5604540" y="2695804"/>
                  <a:pt x="5604540" y="2700408"/>
                </a:cubicBezTo>
                <a:cubicBezTo>
                  <a:pt x="5599934" y="2691198"/>
                  <a:pt x="5599934" y="2677381"/>
                  <a:pt x="5590722" y="2649747"/>
                </a:cubicBezTo>
                <a:cubicBezTo>
                  <a:pt x="5586117" y="2640535"/>
                  <a:pt x="5586117" y="2635929"/>
                  <a:pt x="5586117" y="2631324"/>
                </a:cubicBezTo>
                <a:cubicBezTo>
                  <a:pt x="5586117" y="2631324"/>
                  <a:pt x="5581511" y="2626718"/>
                  <a:pt x="5581511" y="2626718"/>
                </a:cubicBezTo>
                <a:cubicBezTo>
                  <a:pt x="5581511" y="2622113"/>
                  <a:pt x="5581511" y="2622113"/>
                  <a:pt x="5581511" y="2622113"/>
                </a:cubicBezTo>
                <a:cubicBezTo>
                  <a:pt x="5581511" y="2617506"/>
                  <a:pt x="5576905" y="2622113"/>
                  <a:pt x="5576905" y="2622113"/>
                </a:cubicBezTo>
                <a:cubicBezTo>
                  <a:pt x="5576905" y="2617507"/>
                  <a:pt x="5576905" y="2617507"/>
                  <a:pt x="5576905" y="2617507"/>
                </a:cubicBezTo>
                <a:cubicBezTo>
                  <a:pt x="5572300" y="2617507"/>
                  <a:pt x="5572300" y="2599083"/>
                  <a:pt x="5567693" y="2599084"/>
                </a:cubicBezTo>
                <a:cubicBezTo>
                  <a:pt x="5572300" y="2622112"/>
                  <a:pt x="5567694" y="2603690"/>
                  <a:pt x="5563088" y="2612901"/>
                </a:cubicBezTo>
                <a:cubicBezTo>
                  <a:pt x="5558482" y="2585267"/>
                  <a:pt x="5558482" y="2622112"/>
                  <a:pt x="5553877" y="2603690"/>
                </a:cubicBezTo>
                <a:cubicBezTo>
                  <a:pt x="5549271" y="2576056"/>
                  <a:pt x="5544664" y="2576056"/>
                  <a:pt x="5549271" y="2562239"/>
                </a:cubicBezTo>
                <a:cubicBezTo>
                  <a:pt x="5535454" y="2562239"/>
                  <a:pt x="5526241" y="2497759"/>
                  <a:pt x="5512425" y="2451702"/>
                </a:cubicBezTo>
                <a:cubicBezTo>
                  <a:pt x="5512425" y="2447096"/>
                  <a:pt x="5507818" y="2437884"/>
                  <a:pt x="5503214" y="2424067"/>
                </a:cubicBezTo>
                <a:cubicBezTo>
                  <a:pt x="5489397" y="2382617"/>
                  <a:pt x="5480186" y="2354983"/>
                  <a:pt x="5470974" y="2331954"/>
                </a:cubicBezTo>
                <a:cubicBezTo>
                  <a:pt x="5466369" y="2322742"/>
                  <a:pt x="5470974" y="2327348"/>
                  <a:pt x="5470974" y="2318137"/>
                </a:cubicBezTo>
                <a:cubicBezTo>
                  <a:pt x="5466368" y="2318136"/>
                  <a:pt x="5461763" y="2313531"/>
                  <a:pt x="5461762" y="2308926"/>
                </a:cubicBezTo>
                <a:cubicBezTo>
                  <a:pt x="5461762" y="2304319"/>
                  <a:pt x="5470974" y="2318137"/>
                  <a:pt x="5466369" y="2304320"/>
                </a:cubicBezTo>
                <a:cubicBezTo>
                  <a:pt x="5452551" y="2281291"/>
                  <a:pt x="5457156" y="2276686"/>
                  <a:pt x="5438735" y="2239840"/>
                </a:cubicBezTo>
                <a:cubicBezTo>
                  <a:pt x="5447945" y="2239840"/>
                  <a:pt x="5447945" y="2239840"/>
                  <a:pt x="5447945" y="2239840"/>
                </a:cubicBezTo>
                <a:cubicBezTo>
                  <a:pt x="5438734" y="2216812"/>
                  <a:pt x="5434128" y="2207600"/>
                  <a:pt x="5434128" y="2226023"/>
                </a:cubicBezTo>
                <a:cubicBezTo>
                  <a:pt x="5424916" y="2212206"/>
                  <a:pt x="5434128" y="2207600"/>
                  <a:pt x="5420311" y="2193782"/>
                </a:cubicBezTo>
                <a:cubicBezTo>
                  <a:pt x="5424916" y="2198389"/>
                  <a:pt x="5424916" y="2193783"/>
                  <a:pt x="5420311" y="2189178"/>
                </a:cubicBezTo>
                <a:cubicBezTo>
                  <a:pt x="5424916" y="2189178"/>
                  <a:pt x="5424916" y="2189178"/>
                  <a:pt x="5424916" y="2189178"/>
                </a:cubicBezTo>
                <a:cubicBezTo>
                  <a:pt x="5429522" y="2193783"/>
                  <a:pt x="5429522" y="2189177"/>
                  <a:pt x="5429522" y="2189177"/>
                </a:cubicBezTo>
                <a:cubicBezTo>
                  <a:pt x="5429522" y="2184572"/>
                  <a:pt x="5429522" y="2184572"/>
                  <a:pt x="5429522" y="2184572"/>
                </a:cubicBezTo>
                <a:cubicBezTo>
                  <a:pt x="5438735" y="2202995"/>
                  <a:pt x="5434128" y="2175360"/>
                  <a:pt x="5424916" y="2161543"/>
                </a:cubicBezTo>
                <a:cubicBezTo>
                  <a:pt x="5429522" y="2161542"/>
                  <a:pt x="5429522" y="2161542"/>
                  <a:pt x="5429522" y="2161542"/>
                </a:cubicBezTo>
                <a:cubicBezTo>
                  <a:pt x="5429522" y="2161542"/>
                  <a:pt x="5429522" y="2161542"/>
                  <a:pt x="5429522" y="2156938"/>
                </a:cubicBezTo>
                <a:cubicBezTo>
                  <a:pt x="5429522" y="2156938"/>
                  <a:pt x="5424917" y="2152332"/>
                  <a:pt x="5424917" y="2152332"/>
                </a:cubicBezTo>
                <a:cubicBezTo>
                  <a:pt x="5415705" y="2129304"/>
                  <a:pt x="5401888" y="2097064"/>
                  <a:pt x="5388072" y="2064823"/>
                </a:cubicBezTo>
                <a:cubicBezTo>
                  <a:pt x="5369648" y="2032584"/>
                  <a:pt x="5351225" y="2000344"/>
                  <a:pt x="5337408" y="1977316"/>
                </a:cubicBezTo>
                <a:cubicBezTo>
                  <a:pt x="5335105" y="1968105"/>
                  <a:pt x="5329348" y="1956590"/>
                  <a:pt x="5321863" y="1943349"/>
                </a:cubicBezTo>
                <a:lnTo>
                  <a:pt x="5314233" y="1930292"/>
                </a:lnTo>
                <a:lnTo>
                  <a:pt x="5342560" y="1992734"/>
                </a:lnTo>
                <a:cubicBezTo>
                  <a:pt x="5420193" y="2178431"/>
                  <a:pt x="5475598" y="2373326"/>
                  <a:pt x="5509333" y="2577629"/>
                </a:cubicBezTo>
                <a:cubicBezTo>
                  <a:pt x="5522377" y="2655106"/>
                  <a:pt x="5543098" y="2729086"/>
                  <a:pt x="5541762" y="2807552"/>
                </a:cubicBezTo>
                <a:cubicBezTo>
                  <a:pt x="5541488" y="2815091"/>
                  <a:pt x="5544985" y="2822767"/>
                  <a:pt x="5536472" y="2828499"/>
                </a:cubicBezTo>
                <a:cubicBezTo>
                  <a:pt x="5528096" y="2830460"/>
                  <a:pt x="5526834" y="2823620"/>
                  <a:pt x="5526971" y="2819850"/>
                </a:cubicBezTo>
                <a:cubicBezTo>
                  <a:pt x="5502067" y="2569816"/>
                  <a:pt x="5427606" y="2333086"/>
                  <a:pt x="5346305" y="2097618"/>
                </a:cubicBezTo>
                <a:cubicBezTo>
                  <a:pt x="5304742" y="1973811"/>
                  <a:pt x="5238614" y="1861194"/>
                  <a:pt x="5178627" y="1745780"/>
                </a:cubicBezTo>
                <a:cubicBezTo>
                  <a:pt x="5170799" y="1732662"/>
                  <a:pt x="5163806" y="1717310"/>
                  <a:pt x="5157512" y="1703493"/>
                </a:cubicBezTo>
                <a:cubicBezTo>
                  <a:pt x="5152480" y="1696516"/>
                  <a:pt x="5153726" y="1682972"/>
                  <a:pt x="5139908" y="1689267"/>
                </a:cubicBezTo>
                <a:cubicBezTo>
                  <a:pt x="5126090" y="1695561"/>
                  <a:pt x="5131822" y="1704073"/>
                  <a:pt x="5136717" y="1714819"/>
                </a:cubicBezTo>
                <a:cubicBezTo>
                  <a:pt x="5168032" y="1767290"/>
                  <a:pt x="5198512" y="1821995"/>
                  <a:pt x="5225222" y="1876563"/>
                </a:cubicBezTo>
                <a:cubicBezTo>
                  <a:pt x="5252685" y="1933801"/>
                  <a:pt x="5278201" y="1991346"/>
                  <a:pt x="5301667" y="2049214"/>
                </a:cubicBezTo>
                <a:lnTo>
                  <a:pt x="5350111" y="2181079"/>
                </a:lnTo>
                <a:lnTo>
                  <a:pt x="5351225" y="2179965"/>
                </a:lnTo>
                <a:cubicBezTo>
                  <a:pt x="5360436" y="2198389"/>
                  <a:pt x="5365043" y="2216812"/>
                  <a:pt x="5374253" y="2235233"/>
                </a:cubicBezTo>
                <a:cubicBezTo>
                  <a:pt x="5369648" y="2235233"/>
                  <a:pt x="5369648" y="2235233"/>
                  <a:pt x="5369648" y="2235233"/>
                </a:cubicBezTo>
                <a:cubicBezTo>
                  <a:pt x="5369648" y="2230629"/>
                  <a:pt x="5365042" y="2221417"/>
                  <a:pt x="5365043" y="2216812"/>
                </a:cubicBezTo>
                <a:lnTo>
                  <a:pt x="5358240" y="2203206"/>
                </a:lnTo>
                <a:lnTo>
                  <a:pt x="5365805" y="2223799"/>
                </a:lnTo>
                <a:lnTo>
                  <a:pt x="5377582" y="2264421"/>
                </a:lnTo>
                <a:lnTo>
                  <a:pt x="5382889" y="2266898"/>
                </a:lnTo>
                <a:cubicBezTo>
                  <a:pt x="5384617" y="2267474"/>
                  <a:pt x="5385768" y="2267474"/>
                  <a:pt x="5388071" y="2267474"/>
                </a:cubicBezTo>
                <a:cubicBezTo>
                  <a:pt x="5388072" y="2272079"/>
                  <a:pt x="5388071" y="2276686"/>
                  <a:pt x="5388071" y="2276686"/>
                </a:cubicBezTo>
                <a:cubicBezTo>
                  <a:pt x="5383466" y="2276686"/>
                  <a:pt x="5383465" y="2272080"/>
                  <a:pt x="5383466" y="2276686"/>
                </a:cubicBezTo>
                <a:cubicBezTo>
                  <a:pt x="5383466" y="2276686"/>
                  <a:pt x="5383466" y="2276686"/>
                  <a:pt x="5383466" y="2281290"/>
                </a:cubicBezTo>
                <a:lnTo>
                  <a:pt x="5383465" y="2284717"/>
                </a:lnTo>
                <a:lnTo>
                  <a:pt x="5417006" y="2400410"/>
                </a:lnTo>
                <a:lnTo>
                  <a:pt x="5423669" y="2432055"/>
                </a:lnTo>
                <a:lnTo>
                  <a:pt x="5434128" y="2447096"/>
                </a:lnTo>
                <a:cubicBezTo>
                  <a:pt x="5429523" y="2460912"/>
                  <a:pt x="5434128" y="2465518"/>
                  <a:pt x="5443339" y="2470124"/>
                </a:cubicBezTo>
                <a:cubicBezTo>
                  <a:pt x="5443339" y="2479336"/>
                  <a:pt x="5443340" y="2488548"/>
                  <a:pt x="5447945" y="2497759"/>
                </a:cubicBezTo>
                <a:cubicBezTo>
                  <a:pt x="5452551" y="2506969"/>
                  <a:pt x="5452551" y="2520787"/>
                  <a:pt x="5457156" y="2529998"/>
                </a:cubicBezTo>
                <a:cubicBezTo>
                  <a:pt x="5461762" y="2543816"/>
                  <a:pt x="5461762" y="2562238"/>
                  <a:pt x="5466368" y="2576056"/>
                </a:cubicBezTo>
                <a:cubicBezTo>
                  <a:pt x="5466368" y="2585267"/>
                  <a:pt x="5470974" y="2599083"/>
                  <a:pt x="5475579" y="2603690"/>
                </a:cubicBezTo>
                <a:cubicBezTo>
                  <a:pt x="5475579" y="2608296"/>
                  <a:pt x="5475579" y="2608296"/>
                  <a:pt x="5475579" y="2608296"/>
                </a:cubicBezTo>
                <a:cubicBezTo>
                  <a:pt x="5480185" y="2622113"/>
                  <a:pt x="5480185" y="2631324"/>
                  <a:pt x="5484791" y="2645140"/>
                </a:cubicBezTo>
                <a:cubicBezTo>
                  <a:pt x="5484791" y="2654352"/>
                  <a:pt x="5489397" y="2663563"/>
                  <a:pt x="5494002" y="2677380"/>
                </a:cubicBezTo>
                <a:cubicBezTo>
                  <a:pt x="5489397" y="2691197"/>
                  <a:pt x="5494002" y="2691197"/>
                  <a:pt x="5498607" y="2691198"/>
                </a:cubicBezTo>
                <a:cubicBezTo>
                  <a:pt x="5498608" y="2695804"/>
                  <a:pt x="5498608" y="2695804"/>
                  <a:pt x="5498608" y="2695804"/>
                </a:cubicBezTo>
                <a:cubicBezTo>
                  <a:pt x="5498608" y="2700409"/>
                  <a:pt x="5494002" y="2705015"/>
                  <a:pt x="5494002" y="2709621"/>
                </a:cubicBezTo>
                <a:cubicBezTo>
                  <a:pt x="5494002" y="2709621"/>
                  <a:pt x="5494002" y="2714225"/>
                  <a:pt x="5494002" y="2714225"/>
                </a:cubicBezTo>
                <a:cubicBezTo>
                  <a:pt x="5494002" y="2718831"/>
                  <a:pt x="5494002" y="2718831"/>
                  <a:pt x="5498608" y="2723437"/>
                </a:cubicBezTo>
                <a:cubicBezTo>
                  <a:pt x="5498608" y="2723437"/>
                  <a:pt x="5498608" y="2723437"/>
                  <a:pt x="5503214" y="2723438"/>
                </a:cubicBezTo>
                <a:cubicBezTo>
                  <a:pt x="5503214" y="2746466"/>
                  <a:pt x="5503214" y="2746466"/>
                  <a:pt x="5503214" y="2746466"/>
                </a:cubicBezTo>
                <a:cubicBezTo>
                  <a:pt x="5503214" y="2746466"/>
                  <a:pt x="5507819" y="2751072"/>
                  <a:pt x="5507819" y="2751072"/>
                </a:cubicBezTo>
                <a:cubicBezTo>
                  <a:pt x="5507819" y="2751072"/>
                  <a:pt x="5507819" y="2746466"/>
                  <a:pt x="5507819" y="2746466"/>
                </a:cubicBezTo>
                <a:cubicBezTo>
                  <a:pt x="5503214" y="2723438"/>
                  <a:pt x="5503214" y="2723438"/>
                  <a:pt x="5503214" y="2723438"/>
                </a:cubicBezTo>
                <a:cubicBezTo>
                  <a:pt x="5503214" y="2723438"/>
                  <a:pt x="5507819" y="2723438"/>
                  <a:pt x="5507819" y="2723438"/>
                </a:cubicBezTo>
                <a:cubicBezTo>
                  <a:pt x="5507819" y="2728045"/>
                  <a:pt x="5507819" y="2732649"/>
                  <a:pt x="5507819" y="2732649"/>
                </a:cubicBezTo>
                <a:cubicBezTo>
                  <a:pt x="5507819" y="2737255"/>
                  <a:pt x="5507819" y="2737255"/>
                  <a:pt x="5507819" y="2737255"/>
                </a:cubicBezTo>
                <a:cubicBezTo>
                  <a:pt x="5507819" y="2741860"/>
                  <a:pt x="5512425" y="2746465"/>
                  <a:pt x="5512425" y="2751072"/>
                </a:cubicBezTo>
                <a:cubicBezTo>
                  <a:pt x="5512425" y="2755677"/>
                  <a:pt x="5512425" y="2760283"/>
                  <a:pt x="5512425" y="2769494"/>
                </a:cubicBezTo>
                <a:cubicBezTo>
                  <a:pt x="5512425" y="2764889"/>
                  <a:pt x="5507818" y="2764888"/>
                  <a:pt x="5507818" y="2764888"/>
                </a:cubicBezTo>
                <a:cubicBezTo>
                  <a:pt x="5507818" y="2764888"/>
                  <a:pt x="5507819" y="2769495"/>
                  <a:pt x="5507819" y="2774100"/>
                </a:cubicBezTo>
                <a:cubicBezTo>
                  <a:pt x="5507819" y="2774100"/>
                  <a:pt x="5507818" y="2778706"/>
                  <a:pt x="5507819" y="2783312"/>
                </a:cubicBezTo>
                <a:cubicBezTo>
                  <a:pt x="5512425" y="2787918"/>
                  <a:pt x="5512425" y="2792523"/>
                  <a:pt x="5512425" y="2797130"/>
                </a:cubicBezTo>
                <a:cubicBezTo>
                  <a:pt x="5512425" y="2801735"/>
                  <a:pt x="5512425" y="2801735"/>
                  <a:pt x="5512425" y="2806339"/>
                </a:cubicBezTo>
                <a:cubicBezTo>
                  <a:pt x="5517031" y="2810946"/>
                  <a:pt x="5517031" y="2810946"/>
                  <a:pt x="5517031" y="2810946"/>
                </a:cubicBezTo>
                <a:cubicBezTo>
                  <a:pt x="5517031" y="2815552"/>
                  <a:pt x="5521637" y="2820157"/>
                  <a:pt x="5521637" y="2824763"/>
                </a:cubicBezTo>
                <a:cubicBezTo>
                  <a:pt x="5521637" y="2829368"/>
                  <a:pt x="5521637" y="2833975"/>
                  <a:pt x="5521637" y="2833975"/>
                </a:cubicBezTo>
                <a:cubicBezTo>
                  <a:pt x="5517031" y="2833975"/>
                  <a:pt x="5517031" y="2833975"/>
                  <a:pt x="5517031" y="2838580"/>
                </a:cubicBezTo>
                <a:cubicBezTo>
                  <a:pt x="5517031" y="2838580"/>
                  <a:pt x="5517031" y="2843186"/>
                  <a:pt x="5521637" y="2843185"/>
                </a:cubicBezTo>
                <a:cubicBezTo>
                  <a:pt x="5521637" y="2843185"/>
                  <a:pt x="5521636" y="2847792"/>
                  <a:pt x="5517031" y="2852397"/>
                </a:cubicBezTo>
                <a:cubicBezTo>
                  <a:pt x="5521637" y="2861609"/>
                  <a:pt x="5521637" y="2861609"/>
                  <a:pt x="5521637" y="2861609"/>
                </a:cubicBezTo>
                <a:cubicBezTo>
                  <a:pt x="5521637" y="2861609"/>
                  <a:pt x="5521637" y="2857003"/>
                  <a:pt x="5526242" y="2857003"/>
                </a:cubicBezTo>
                <a:cubicBezTo>
                  <a:pt x="5526242" y="2861609"/>
                  <a:pt x="5526242" y="2866214"/>
                  <a:pt x="5526242" y="2870820"/>
                </a:cubicBezTo>
                <a:cubicBezTo>
                  <a:pt x="5526241" y="2875426"/>
                  <a:pt x="5526241" y="2875426"/>
                  <a:pt x="5526241" y="2875426"/>
                </a:cubicBezTo>
                <a:cubicBezTo>
                  <a:pt x="5530848" y="2884637"/>
                  <a:pt x="5530848" y="2889242"/>
                  <a:pt x="5530848" y="2893848"/>
                </a:cubicBezTo>
                <a:cubicBezTo>
                  <a:pt x="5530848" y="2903059"/>
                  <a:pt x="5530848" y="2907666"/>
                  <a:pt x="5530848" y="2912271"/>
                </a:cubicBezTo>
                <a:cubicBezTo>
                  <a:pt x="5530848" y="2916877"/>
                  <a:pt x="5530848" y="2916877"/>
                  <a:pt x="5530848" y="2926088"/>
                </a:cubicBezTo>
                <a:cubicBezTo>
                  <a:pt x="5526242" y="2930694"/>
                  <a:pt x="5530848" y="2944511"/>
                  <a:pt x="5530848" y="2953722"/>
                </a:cubicBezTo>
                <a:cubicBezTo>
                  <a:pt x="5530847" y="2958328"/>
                  <a:pt x="5526242" y="2962933"/>
                  <a:pt x="5526242" y="2967540"/>
                </a:cubicBezTo>
                <a:cubicBezTo>
                  <a:pt x="5526242" y="2967540"/>
                  <a:pt x="5521637" y="2962934"/>
                  <a:pt x="5521637" y="2962934"/>
                </a:cubicBezTo>
                <a:cubicBezTo>
                  <a:pt x="5521637" y="2958328"/>
                  <a:pt x="5517030" y="2958328"/>
                  <a:pt x="5517030" y="2958328"/>
                </a:cubicBezTo>
                <a:cubicBezTo>
                  <a:pt x="5517030" y="2958328"/>
                  <a:pt x="5517030" y="2958328"/>
                  <a:pt x="5517031" y="2962934"/>
                </a:cubicBezTo>
                <a:cubicBezTo>
                  <a:pt x="5517031" y="2967539"/>
                  <a:pt x="5517031" y="2967539"/>
                  <a:pt x="5517031" y="2967539"/>
                </a:cubicBezTo>
                <a:cubicBezTo>
                  <a:pt x="5517031" y="2972145"/>
                  <a:pt x="5517031" y="2972145"/>
                  <a:pt x="5521637" y="2972145"/>
                </a:cubicBezTo>
                <a:cubicBezTo>
                  <a:pt x="5521637" y="2972145"/>
                  <a:pt x="5526242" y="2976750"/>
                  <a:pt x="5526242" y="2976750"/>
                </a:cubicBezTo>
                <a:cubicBezTo>
                  <a:pt x="5530848" y="2976751"/>
                  <a:pt x="5530848" y="2976751"/>
                  <a:pt x="5530848" y="2976751"/>
                </a:cubicBezTo>
                <a:cubicBezTo>
                  <a:pt x="5530848" y="2972145"/>
                  <a:pt x="5535454" y="2962934"/>
                  <a:pt x="5535454" y="2953722"/>
                </a:cubicBezTo>
                <a:cubicBezTo>
                  <a:pt x="5535453" y="2949117"/>
                  <a:pt x="5535453" y="2949117"/>
                  <a:pt x="5535453" y="2949117"/>
                </a:cubicBezTo>
                <a:cubicBezTo>
                  <a:pt x="5535454" y="2944511"/>
                  <a:pt x="5530848" y="2935300"/>
                  <a:pt x="5535454" y="2930694"/>
                </a:cubicBezTo>
                <a:cubicBezTo>
                  <a:pt x="5535454" y="2926088"/>
                  <a:pt x="5535454" y="2926088"/>
                  <a:pt x="5535454" y="2921483"/>
                </a:cubicBezTo>
                <a:cubicBezTo>
                  <a:pt x="5540059" y="2926088"/>
                  <a:pt x="5540059" y="2935299"/>
                  <a:pt x="5540059" y="2944510"/>
                </a:cubicBezTo>
                <a:cubicBezTo>
                  <a:pt x="5540059" y="2953722"/>
                  <a:pt x="5540059" y="2962934"/>
                  <a:pt x="5544665" y="2972145"/>
                </a:cubicBezTo>
                <a:cubicBezTo>
                  <a:pt x="5544665" y="2976750"/>
                  <a:pt x="5540059" y="2976751"/>
                  <a:pt x="5540059" y="2981357"/>
                </a:cubicBezTo>
                <a:cubicBezTo>
                  <a:pt x="5540059" y="2990568"/>
                  <a:pt x="5540059" y="2990568"/>
                  <a:pt x="5540059" y="2990568"/>
                </a:cubicBezTo>
                <a:cubicBezTo>
                  <a:pt x="5540059" y="2999778"/>
                  <a:pt x="5540059" y="3004385"/>
                  <a:pt x="5540058" y="3013596"/>
                </a:cubicBezTo>
                <a:cubicBezTo>
                  <a:pt x="5535454" y="3008990"/>
                  <a:pt x="5535454" y="3008990"/>
                  <a:pt x="5535454" y="3008990"/>
                </a:cubicBezTo>
                <a:cubicBezTo>
                  <a:pt x="5535454" y="3004385"/>
                  <a:pt x="5535454" y="3004385"/>
                  <a:pt x="5530848" y="3008991"/>
                </a:cubicBezTo>
                <a:cubicBezTo>
                  <a:pt x="5530848" y="3008991"/>
                  <a:pt x="5530848" y="3008991"/>
                  <a:pt x="5530848" y="3013596"/>
                </a:cubicBezTo>
                <a:cubicBezTo>
                  <a:pt x="5530848" y="3013596"/>
                  <a:pt x="5530848" y="3018201"/>
                  <a:pt x="5530848" y="3018201"/>
                </a:cubicBezTo>
                <a:cubicBezTo>
                  <a:pt x="5535454" y="3022807"/>
                  <a:pt x="5535454" y="3022807"/>
                  <a:pt x="5535454" y="3022807"/>
                </a:cubicBezTo>
                <a:cubicBezTo>
                  <a:pt x="5535454" y="3022807"/>
                  <a:pt x="5535454" y="3027414"/>
                  <a:pt x="5535454" y="3027414"/>
                </a:cubicBezTo>
                <a:cubicBezTo>
                  <a:pt x="5535454" y="3027414"/>
                  <a:pt x="5535454" y="3027414"/>
                  <a:pt x="5535454" y="3032019"/>
                </a:cubicBezTo>
                <a:cubicBezTo>
                  <a:pt x="5535454" y="3036624"/>
                  <a:pt x="5540059" y="3045836"/>
                  <a:pt x="5540059" y="3050441"/>
                </a:cubicBezTo>
                <a:cubicBezTo>
                  <a:pt x="5540059" y="3064258"/>
                  <a:pt x="5544665" y="3068864"/>
                  <a:pt x="5540059" y="3073471"/>
                </a:cubicBezTo>
                <a:cubicBezTo>
                  <a:pt x="5535454" y="3073470"/>
                  <a:pt x="5535454" y="3078076"/>
                  <a:pt x="5535454" y="3078076"/>
                </a:cubicBezTo>
                <a:cubicBezTo>
                  <a:pt x="5535454" y="3078076"/>
                  <a:pt x="5530847" y="3078076"/>
                  <a:pt x="5530847" y="3073471"/>
                </a:cubicBezTo>
                <a:cubicBezTo>
                  <a:pt x="5530848" y="3055047"/>
                  <a:pt x="5530848" y="3036625"/>
                  <a:pt x="5526242" y="3018202"/>
                </a:cubicBezTo>
                <a:cubicBezTo>
                  <a:pt x="5526242" y="3013595"/>
                  <a:pt x="5526242" y="3013595"/>
                  <a:pt x="5526242" y="3013595"/>
                </a:cubicBezTo>
                <a:cubicBezTo>
                  <a:pt x="5521637" y="3013595"/>
                  <a:pt x="5521637" y="3018202"/>
                  <a:pt x="5521637" y="3018202"/>
                </a:cubicBezTo>
                <a:cubicBezTo>
                  <a:pt x="5526242" y="3036625"/>
                  <a:pt x="5526242" y="3055048"/>
                  <a:pt x="5526242" y="3073471"/>
                </a:cubicBezTo>
                <a:cubicBezTo>
                  <a:pt x="5521637" y="3073471"/>
                  <a:pt x="5517031" y="3073470"/>
                  <a:pt x="5512425" y="3082681"/>
                </a:cubicBezTo>
                <a:cubicBezTo>
                  <a:pt x="5512425" y="3105710"/>
                  <a:pt x="5503214" y="3110316"/>
                  <a:pt x="5503214" y="3133345"/>
                </a:cubicBezTo>
                <a:cubicBezTo>
                  <a:pt x="5480185" y="3193219"/>
                  <a:pt x="5470974" y="3266910"/>
                  <a:pt x="5466368" y="3317571"/>
                </a:cubicBezTo>
                <a:cubicBezTo>
                  <a:pt x="5466368" y="3322178"/>
                  <a:pt x="5466368" y="3322178"/>
                  <a:pt x="5466368" y="3322178"/>
                </a:cubicBezTo>
                <a:cubicBezTo>
                  <a:pt x="5466368" y="3322178"/>
                  <a:pt x="5466368" y="3326784"/>
                  <a:pt x="5466368" y="3326784"/>
                </a:cubicBezTo>
                <a:cubicBezTo>
                  <a:pt x="5470974" y="3326784"/>
                  <a:pt x="5470974" y="3326784"/>
                  <a:pt x="5470974" y="3322177"/>
                </a:cubicBezTo>
                <a:cubicBezTo>
                  <a:pt x="5475579" y="3271514"/>
                  <a:pt x="5484791" y="3202429"/>
                  <a:pt x="5507819" y="3142555"/>
                </a:cubicBezTo>
                <a:cubicBezTo>
                  <a:pt x="5507819" y="3147162"/>
                  <a:pt x="5507819" y="3147162"/>
                  <a:pt x="5507819" y="3147162"/>
                </a:cubicBezTo>
                <a:cubicBezTo>
                  <a:pt x="5512425" y="3147161"/>
                  <a:pt x="5512425" y="3142556"/>
                  <a:pt x="5517031" y="3137949"/>
                </a:cubicBezTo>
                <a:cubicBezTo>
                  <a:pt x="5517031" y="3142556"/>
                  <a:pt x="5517031" y="3147162"/>
                  <a:pt x="5517031" y="3151766"/>
                </a:cubicBezTo>
                <a:cubicBezTo>
                  <a:pt x="5517031" y="3151766"/>
                  <a:pt x="5517031" y="3151766"/>
                  <a:pt x="5512425" y="3151767"/>
                </a:cubicBezTo>
                <a:cubicBezTo>
                  <a:pt x="5512425" y="3156373"/>
                  <a:pt x="5512425" y="3156373"/>
                  <a:pt x="5512425" y="3156373"/>
                </a:cubicBezTo>
                <a:cubicBezTo>
                  <a:pt x="5512425" y="3156373"/>
                  <a:pt x="5512425" y="3156373"/>
                  <a:pt x="5512425" y="3160978"/>
                </a:cubicBezTo>
                <a:cubicBezTo>
                  <a:pt x="5512425" y="3160978"/>
                  <a:pt x="5517031" y="3160978"/>
                  <a:pt x="5517031" y="3160978"/>
                </a:cubicBezTo>
                <a:cubicBezTo>
                  <a:pt x="5512424" y="3170189"/>
                  <a:pt x="5512425" y="3179401"/>
                  <a:pt x="5512425" y="3184006"/>
                </a:cubicBezTo>
                <a:cubicBezTo>
                  <a:pt x="5512425" y="3188613"/>
                  <a:pt x="5512425" y="3188613"/>
                  <a:pt x="5512425" y="3193219"/>
                </a:cubicBezTo>
                <a:cubicBezTo>
                  <a:pt x="5512425" y="3197823"/>
                  <a:pt x="5512424" y="3202430"/>
                  <a:pt x="5512425" y="3207036"/>
                </a:cubicBezTo>
                <a:lnTo>
                  <a:pt x="5512425" y="3211640"/>
                </a:lnTo>
                <a:cubicBezTo>
                  <a:pt x="5507818" y="3211641"/>
                  <a:pt x="5507818" y="3211641"/>
                  <a:pt x="5507819" y="3216247"/>
                </a:cubicBezTo>
                <a:cubicBezTo>
                  <a:pt x="5507819" y="3220852"/>
                  <a:pt x="5507819" y="3220852"/>
                  <a:pt x="5507819" y="3225458"/>
                </a:cubicBezTo>
                <a:cubicBezTo>
                  <a:pt x="5507819" y="3225458"/>
                  <a:pt x="5512425" y="3230064"/>
                  <a:pt x="5512425" y="3230064"/>
                </a:cubicBezTo>
                <a:cubicBezTo>
                  <a:pt x="5517031" y="3266909"/>
                  <a:pt x="5517031" y="3303755"/>
                  <a:pt x="5512425" y="3340600"/>
                </a:cubicBezTo>
                <a:cubicBezTo>
                  <a:pt x="5507819" y="3359023"/>
                  <a:pt x="5507819" y="3372841"/>
                  <a:pt x="5503214" y="3391263"/>
                </a:cubicBezTo>
                <a:cubicBezTo>
                  <a:pt x="5503214" y="3391263"/>
                  <a:pt x="5507819" y="3391263"/>
                  <a:pt x="5507819" y="3386658"/>
                </a:cubicBezTo>
                <a:cubicBezTo>
                  <a:pt x="5503214" y="3418897"/>
                  <a:pt x="5503214" y="3446532"/>
                  <a:pt x="5498608" y="3478771"/>
                </a:cubicBezTo>
                <a:cubicBezTo>
                  <a:pt x="5498608" y="3483377"/>
                  <a:pt x="5498608" y="3483377"/>
                  <a:pt x="5503214" y="3483377"/>
                </a:cubicBezTo>
                <a:cubicBezTo>
                  <a:pt x="5503214" y="3492588"/>
                  <a:pt x="5498608" y="3497193"/>
                  <a:pt x="5498608" y="3506406"/>
                </a:cubicBezTo>
                <a:cubicBezTo>
                  <a:pt x="5498608" y="3501800"/>
                  <a:pt x="5494002" y="3506406"/>
                  <a:pt x="5494002" y="3511011"/>
                </a:cubicBezTo>
                <a:cubicBezTo>
                  <a:pt x="5498608" y="3511010"/>
                  <a:pt x="5498608" y="3515617"/>
                  <a:pt x="5498608" y="3520223"/>
                </a:cubicBezTo>
                <a:cubicBezTo>
                  <a:pt x="5498608" y="3529434"/>
                  <a:pt x="5494001" y="3538645"/>
                  <a:pt x="5494002" y="3547856"/>
                </a:cubicBezTo>
                <a:cubicBezTo>
                  <a:pt x="5494002" y="3547856"/>
                  <a:pt x="5494001" y="3552463"/>
                  <a:pt x="5494001" y="3552463"/>
                </a:cubicBezTo>
                <a:cubicBezTo>
                  <a:pt x="5494002" y="3557068"/>
                  <a:pt x="5489397" y="3561674"/>
                  <a:pt x="5489397" y="3566280"/>
                </a:cubicBezTo>
                <a:cubicBezTo>
                  <a:pt x="5489397" y="3570884"/>
                  <a:pt x="5489397" y="3570884"/>
                  <a:pt x="5489397" y="3570884"/>
                </a:cubicBezTo>
                <a:cubicBezTo>
                  <a:pt x="5489397" y="3570884"/>
                  <a:pt x="5489397" y="3575491"/>
                  <a:pt x="5489397" y="3575491"/>
                </a:cubicBezTo>
                <a:cubicBezTo>
                  <a:pt x="5484791" y="3603125"/>
                  <a:pt x="5475579" y="3630759"/>
                  <a:pt x="5470974" y="3653788"/>
                </a:cubicBezTo>
                <a:cubicBezTo>
                  <a:pt x="5470974" y="3653788"/>
                  <a:pt x="5475579" y="3662998"/>
                  <a:pt x="5470974" y="3667605"/>
                </a:cubicBezTo>
                <a:cubicBezTo>
                  <a:pt x="5470974" y="3667605"/>
                  <a:pt x="5470975" y="3672211"/>
                  <a:pt x="5470975" y="3672211"/>
                </a:cubicBezTo>
                <a:cubicBezTo>
                  <a:pt x="5470974" y="3667605"/>
                  <a:pt x="5470974" y="3681422"/>
                  <a:pt x="5470975" y="3690633"/>
                </a:cubicBezTo>
                <a:cubicBezTo>
                  <a:pt x="5466368" y="3709055"/>
                  <a:pt x="5457157" y="3727478"/>
                  <a:pt x="5452551" y="3741296"/>
                </a:cubicBezTo>
                <a:cubicBezTo>
                  <a:pt x="5429522" y="3819593"/>
                  <a:pt x="5411099" y="3879467"/>
                  <a:pt x="5392676" y="3934735"/>
                </a:cubicBezTo>
                <a:cubicBezTo>
                  <a:pt x="5392676" y="3939341"/>
                  <a:pt x="5392676" y="3939341"/>
                  <a:pt x="5392676" y="3939341"/>
                </a:cubicBezTo>
                <a:cubicBezTo>
                  <a:pt x="5388071" y="3943946"/>
                  <a:pt x="5388071" y="3943946"/>
                  <a:pt x="5388071" y="3943946"/>
                </a:cubicBezTo>
                <a:cubicBezTo>
                  <a:pt x="5376556" y="3964672"/>
                  <a:pt x="5365042" y="3984246"/>
                  <a:pt x="5353528" y="4004971"/>
                </a:cubicBezTo>
                <a:lnTo>
                  <a:pt x="5322699" y="4065600"/>
                </a:lnTo>
                <a:lnTo>
                  <a:pt x="5323231" y="4064270"/>
                </a:lnTo>
                <a:cubicBezTo>
                  <a:pt x="5325318" y="4058513"/>
                  <a:pt x="5327045" y="4053332"/>
                  <a:pt x="5328196" y="4049877"/>
                </a:cubicBezTo>
                <a:cubicBezTo>
                  <a:pt x="5328196" y="4045272"/>
                  <a:pt x="5332802" y="4040666"/>
                  <a:pt x="5332802" y="4040666"/>
                </a:cubicBezTo>
                <a:cubicBezTo>
                  <a:pt x="5342013" y="4022243"/>
                  <a:pt x="5351225" y="4013032"/>
                  <a:pt x="5346620" y="4008426"/>
                </a:cubicBezTo>
                <a:cubicBezTo>
                  <a:pt x="5355831" y="4003820"/>
                  <a:pt x="5365042" y="3976186"/>
                  <a:pt x="5369648" y="3953158"/>
                </a:cubicBezTo>
                <a:cubicBezTo>
                  <a:pt x="5369648" y="3948552"/>
                  <a:pt x="5369648" y="3943945"/>
                  <a:pt x="5374253" y="3943946"/>
                </a:cubicBezTo>
                <a:cubicBezTo>
                  <a:pt x="5374253" y="3943946"/>
                  <a:pt x="5378859" y="3939340"/>
                  <a:pt x="5378859" y="3934735"/>
                </a:cubicBezTo>
                <a:cubicBezTo>
                  <a:pt x="5378859" y="3930129"/>
                  <a:pt x="5378859" y="3925523"/>
                  <a:pt x="5374253" y="3930129"/>
                </a:cubicBezTo>
                <a:cubicBezTo>
                  <a:pt x="5369649" y="3930129"/>
                  <a:pt x="5365042" y="3939341"/>
                  <a:pt x="5360436" y="3948552"/>
                </a:cubicBezTo>
                <a:cubicBezTo>
                  <a:pt x="5360436" y="3953158"/>
                  <a:pt x="5360436" y="3953158"/>
                  <a:pt x="5360436" y="3953158"/>
                </a:cubicBezTo>
                <a:cubicBezTo>
                  <a:pt x="5342013" y="3990003"/>
                  <a:pt x="5332802" y="4003820"/>
                  <a:pt x="5323590" y="4036059"/>
                </a:cubicBezTo>
                <a:cubicBezTo>
                  <a:pt x="5323590" y="4036059"/>
                  <a:pt x="5323590" y="4040666"/>
                  <a:pt x="5323590" y="4040666"/>
                </a:cubicBezTo>
                <a:cubicBezTo>
                  <a:pt x="5318986" y="4045272"/>
                  <a:pt x="5309773" y="4059089"/>
                  <a:pt x="5305168" y="4063693"/>
                </a:cubicBezTo>
                <a:cubicBezTo>
                  <a:pt x="5309774" y="4072906"/>
                  <a:pt x="5300562" y="4072906"/>
                  <a:pt x="5291350" y="4091328"/>
                </a:cubicBezTo>
                <a:cubicBezTo>
                  <a:pt x="5284442" y="4107448"/>
                  <a:pt x="5276382" y="4127023"/>
                  <a:pt x="5266595" y="4146597"/>
                </a:cubicBezTo>
                <a:lnTo>
                  <a:pt x="5237163" y="4192915"/>
                </a:lnTo>
                <a:lnTo>
                  <a:pt x="5236082" y="4188048"/>
                </a:lnTo>
                <a:cubicBezTo>
                  <a:pt x="5199236" y="4261739"/>
                  <a:pt x="5157785" y="4326218"/>
                  <a:pt x="5107121" y="4399910"/>
                </a:cubicBezTo>
                <a:cubicBezTo>
                  <a:pt x="5107121" y="4399910"/>
                  <a:pt x="5102517" y="4399910"/>
                  <a:pt x="5102517" y="4399910"/>
                </a:cubicBezTo>
                <a:cubicBezTo>
                  <a:pt x="5102516" y="4404516"/>
                  <a:pt x="5102516" y="4404516"/>
                  <a:pt x="5102516" y="4404516"/>
                </a:cubicBezTo>
                <a:cubicBezTo>
                  <a:pt x="5102516" y="4404516"/>
                  <a:pt x="5102516" y="4404516"/>
                  <a:pt x="5102516" y="4409121"/>
                </a:cubicBezTo>
                <a:cubicBezTo>
                  <a:pt x="5097910" y="4413727"/>
                  <a:pt x="5088699" y="4418333"/>
                  <a:pt x="5084093" y="4422938"/>
                </a:cubicBezTo>
                <a:cubicBezTo>
                  <a:pt x="5093304" y="4436756"/>
                  <a:pt x="5061064" y="4464390"/>
                  <a:pt x="5047247" y="4487417"/>
                </a:cubicBezTo>
                <a:cubicBezTo>
                  <a:pt x="5042642" y="4482811"/>
                  <a:pt x="5051853" y="4473601"/>
                  <a:pt x="5047248" y="4473601"/>
                </a:cubicBezTo>
                <a:cubicBezTo>
                  <a:pt x="5024218" y="4496630"/>
                  <a:pt x="5056460" y="4478207"/>
                  <a:pt x="5033430" y="4505841"/>
                </a:cubicBezTo>
                <a:cubicBezTo>
                  <a:pt x="5028824" y="4505841"/>
                  <a:pt x="5033430" y="4501235"/>
                  <a:pt x="5028824" y="4501235"/>
                </a:cubicBezTo>
                <a:cubicBezTo>
                  <a:pt x="5010401" y="4533475"/>
                  <a:pt x="4982767" y="4556504"/>
                  <a:pt x="4973555" y="4579532"/>
                </a:cubicBezTo>
                <a:cubicBezTo>
                  <a:pt x="4973555" y="4579532"/>
                  <a:pt x="4978161" y="4570321"/>
                  <a:pt x="4968950" y="4579532"/>
                </a:cubicBezTo>
                <a:cubicBezTo>
                  <a:pt x="4964344" y="4602561"/>
                  <a:pt x="4936711" y="4616378"/>
                  <a:pt x="4918287" y="4634799"/>
                </a:cubicBezTo>
                <a:cubicBezTo>
                  <a:pt x="4904470" y="4662435"/>
                  <a:pt x="4881441" y="4685463"/>
                  <a:pt x="4858413" y="4703885"/>
                </a:cubicBezTo>
                <a:cubicBezTo>
                  <a:pt x="4846898" y="4713097"/>
                  <a:pt x="4835384" y="4722309"/>
                  <a:pt x="4823294" y="4733247"/>
                </a:cubicBezTo>
                <a:lnTo>
                  <a:pt x="4789327" y="4768227"/>
                </a:lnTo>
                <a:lnTo>
                  <a:pt x="4789327" y="4763760"/>
                </a:lnTo>
                <a:cubicBezTo>
                  <a:pt x="4784721" y="4763759"/>
                  <a:pt x="4784721" y="4763759"/>
                  <a:pt x="4784721" y="4768366"/>
                </a:cubicBezTo>
                <a:cubicBezTo>
                  <a:pt x="4780115" y="4777577"/>
                  <a:pt x="4780115" y="4777577"/>
                  <a:pt x="4780115" y="4777577"/>
                </a:cubicBezTo>
                <a:cubicBezTo>
                  <a:pt x="4780115" y="4772970"/>
                  <a:pt x="4780115" y="4772970"/>
                  <a:pt x="4780115" y="4772970"/>
                </a:cubicBezTo>
                <a:cubicBezTo>
                  <a:pt x="4770904" y="4777577"/>
                  <a:pt x="4761692" y="4786788"/>
                  <a:pt x="4752481" y="4800605"/>
                </a:cubicBezTo>
                <a:cubicBezTo>
                  <a:pt x="4752481" y="4800605"/>
                  <a:pt x="4752481" y="4805211"/>
                  <a:pt x="4752481" y="4805211"/>
                </a:cubicBezTo>
                <a:cubicBezTo>
                  <a:pt x="4752482" y="4809817"/>
                  <a:pt x="4747875" y="4809817"/>
                  <a:pt x="4747875" y="4814422"/>
                </a:cubicBezTo>
                <a:cubicBezTo>
                  <a:pt x="4747875" y="4809817"/>
                  <a:pt x="4752481" y="4805211"/>
                  <a:pt x="4747875" y="4805211"/>
                </a:cubicBezTo>
                <a:cubicBezTo>
                  <a:pt x="4743269" y="4809817"/>
                  <a:pt x="4738664" y="4814422"/>
                  <a:pt x="4734058" y="4819028"/>
                </a:cubicBezTo>
                <a:cubicBezTo>
                  <a:pt x="4734058" y="4814421"/>
                  <a:pt x="4734058" y="4814421"/>
                  <a:pt x="4734058" y="4814421"/>
                </a:cubicBezTo>
                <a:cubicBezTo>
                  <a:pt x="4734058" y="4814421"/>
                  <a:pt x="4734058" y="4814421"/>
                  <a:pt x="4734058" y="4809817"/>
                </a:cubicBezTo>
                <a:cubicBezTo>
                  <a:pt x="4734058" y="4809817"/>
                  <a:pt x="4734058" y="4809817"/>
                  <a:pt x="4729452" y="4809817"/>
                </a:cubicBezTo>
                <a:cubicBezTo>
                  <a:pt x="4729452" y="4814422"/>
                  <a:pt x="4729452" y="4819028"/>
                  <a:pt x="4729452" y="4819028"/>
                </a:cubicBezTo>
                <a:cubicBezTo>
                  <a:pt x="4729452" y="4819028"/>
                  <a:pt x="4729452" y="4819028"/>
                  <a:pt x="4729453" y="4823634"/>
                </a:cubicBezTo>
                <a:cubicBezTo>
                  <a:pt x="4729453" y="4823634"/>
                  <a:pt x="4724847" y="4828240"/>
                  <a:pt x="4724847" y="4828240"/>
                </a:cubicBezTo>
                <a:cubicBezTo>
                  <a:pt x="4724847" y="4828240"/>
                  <a:pt x="4720241" y="4828240"/>
                  <a:pt x="4720241" y="4828240"/>
                </a:cubicBezTo>
                <a:cubicBezTo>
                  <a:pt x="4720241" y="4828240"/>
                  <a:pt x="4715635" y="4828240"/>
                  <a:pt x="4715635" y="4828240"/>
                </a:cubicBezTo>
                <a:cubicBezTo>
                  <a:pt x="4715635" y="4832845"/>
                  <a:pt x="4715635" y="4832845"/>
                  <a:pt x="4715635" y="4832845"/>
                </a:cubicBezTo>
                <a:cubicBezTo>
                  <a:pt x="4715635" y="4837451"/>
                  <a:pt x="4715635" y="4837451"/>
                  <a:pt x="4715635" y="4837451"/>
                </a:cubicBezTo>
                <a:cubicBezTo>
                  <a:pt x="4711029" y="4842057"/>
                  <a:pt x="4706424" y="4846661"/>
                  <a:pt x="4701818" y="4846662"/>
                </a:cubicBezTo>
                <a:cubicBezTo>
                  <a:pt x="4701818" y="4846662"/>
                  <a:pt x="4701818" y="4846662"/>
                  <a:pt x="4701819" y="4842057"/>
                </a:cubicBezTo>
                <a:cubicBezTo>
                  <a:pt x="4701819" y="4842057"/>
                  <a:pt x="4697212" y="4846662"/>
                  <a:pt x="4697212" y="4846662"/>
                </a:cubicBezTo>
                <a:cubicBezTo>
                  <a:pt x="4692606" y="4851268"/>
                  <a:pt x="4692606" y="4851268"/>
                  <a:pt x="4692606" y="4851268"/>
                </a:cubicBezTo>
                <a:cubicBezTo>
                  <a:pt x="4692606" y="4851268"/>
                  <a:pt x="4688001" y="4855874"/>
                  <a:pt x="4688001" y="4860479"/>
                </a:cubicBezTo>
                <a:cubicBezTo>
                  <a:pt x="4688001" y="4855874"/>
                  <a:pt x="4688001" y="4855874"/>
                  <a:pt x="4688001" y="4855874"/>
                </a:cubicBezTo>
                <a:cubicBezTo>
                  <a:pt x="4683395" y="4855874"/>
                  <a:pt x="4678789" y="4860479"/>
                  <a:pt x="4669578" y="4865085"/>
                </a:cubicBezTo>
                <a:cubicBezTo>
                  <a:pt x="4674183" y="4855874"/>
                  <a:pt x="4664972" y="4865084"/>
                  <a:pt x="4669578" y="4855874"/>
                </a:cubicBezTo>
                <a:cubicBezTo>
                  <a:pt x="4651155" y="4869691"/>
                  <a:pt x="4651155" y="4869691"/>
                  <a:pt x="4651155" y="4869691"/>
                </a:cubicBezTo>
                <a:cubicBezTo>
                  <a:pt x="4651155" y="4869691"/>
                  <a:pt x="4651155" y="4865085"/>
                  <a:pt x="4651155" y="4865085"/>
                </a:cubicBezTo>
                <a:cubicBezTo>
                  <a:pt x="4655761" y="4860479"/>
                  <a:pt x="4655761" y="4860479"/>
                  <a:pt x="4655761" y="4860479"/>
                </a:cubicBezTo>
                <a:cubicBezTo>
                  <a:pt x="4655761" y="4860479"/>
                  <a:pt x="4660366" y="4860478"/>
                  <a:pt x="4655761" y="4855874"/>
                </a:cubicBezTo>
                <a:cubicBezTo>
                  <a:pt x="4655761" y="4855874"/>
                  <a:pt x="4655761" y="4855874"/>
                  <a:pt x="4651155" y="4860479"/>
                </a:cubicBezTo>
                <a:cubicBezTo>
                  <a:pt x="4646549" y="4865085"/>
                  <a:pt x="4646549" y="4865085"/>
                  <a:pt x="4646549" y="4865085"/>
                </a:cubicBezTo>
                <a:cubicBezTo>
                  <a:pt x="4646549" y="4869691"/>
                  <a:pt x="4641944" y="4869691"/>
                  <a:pt x="4641943" y="4874296"/>
                </a:cubicBezTo>
                <a:cubicBezTo>
                  <a:pt x="4641943" y="4874296"/>
                  <a:pt x="4646549" y="4878902"/>
                  <a:pt x="4651155" y="4874296"/>
                </a:cubicBezTo>
                <a:cubicBezTo>
                  <a:pt x="4646549" y="4878902"/>
                  <a:pt x="4646549" y="4878902"/>
                  <a:pt x="4646549" y="4878902"/>
                </a:cubicBezTo>
                <a:cubicBezTo>
                  <a:pt x="4632732" y="4897325"/>
                  <a:pt x="4628126" y="4892719"/>
                  <a:pt x="4623520" y="4906536"/>
                </a:cubicBezTo>
                <a:cubicBezTo>
                  <a:pt x="4632732" y="4897325"/>
                  <a:pt x="4637338" y="4901931"/>
                  <a:pt x="4641943" y="4901931"/>
                </a:cubicBezTo>
                <a:cubicBezTo>
                  <a:pt x="4637338" y="4906536"/>
                  <a:pt x="4628126" y="4911142"/>
                  <a:pt x="4623520" y="4915748"/>
                </a:cubicBezTo>
                <a:cubicBezTo>
                  <a:pt x="4618916" y="4920353"/>
                  <a:pt x="4614310" y="4924959"/>
                  <a:pt x="4609703" y="4929565"/>
                </a:cubicBezTo>
                <a:cubicBezTo>
                  <a:pt x="4605098" y="4929565"/>
                  <a:pt x="4600492" y="4934170"/>
                  <a:pt x="4600492" y="4934170"/>
                </a:cubicBezTo>
                <a:cubicBezTo>
                  <a:pt x="4595886" y="4934170"/>
                  <a:pt x="4600492" y="4929565"/>
                  <a:pt x="4600493" y="4924959"/>
                </a:cubicBezTo>
                <a:cubicBezTo>
                  <a:pt x="4582069" y="4943381"/>
                  <a:pt x="4582069" y="4943381"/>
                  <a:pt x="4582069" y="4943381"/>
                </a:cubicBezTo>
                <a:cubicBezTo>
                  <a:pt x="4577464" y="4938776"/>
                  <a:pt x="4577464" y="4938776"/>
                  <a:pt x="4577464" y="4938776"/>
                </a:cubicBezTo>
                <a:cubicBezTo>
                  <a:pt x="4577464" y="4938776"/>
                  <a:pt x="4577463" y="4934170"/>
                  <a:pt x="4582069" y="4934170"/>
                </a:cubicBezTo>
                <a:cubicBezTo>
                  <a:pt x="4582069" y="4929564"/>
                  <a:pt x="4582069" y="4929564"/>
                  <a:pt x="4582069" y="4929564"/>
                </a:cubicBezTo>
                <a:cubicBezTo>
                  <a:pt x="4582069" y="4929564"/>
                  <a:pt x="4582069" y="4929564"/>
                  <a:pt x="4577463" y="4929565"/>
                </a:cubicBezTo>
                <a:cubicBezTo>
                  <a:pt x="4572858" y="4929565"/>
                  <a:pt x="4572858" y="4934170"/>
                  <a:pt x="4572858" y="4934170"/>
                </a:cubicBezTo>
                <a:cubicBezTo>
                  <a:pt x="4572858" y="4938776"/>
                  <a:pt x="4572858" y="4938776"/>
                  <a:pt x="4572858" y="4938776"/>
                </a:cubicBezTo>
                <a:cubicBezTo>
                  <a:pt x="4572858" y="4938776"/>
                  <a:pt x="4568252" y="4938776"/>
                  <a:pt x="4568252" y="4943382"/>
                </a:cubicBezTo>
                <a:cubicBezTo>
                  <a:pt x="4568252" y="4943382"/>
                  <a:pt x="4568252" y="4943382"/>
                  <a:pt x="4563646" y="4947988"/>
                </a:cubicBezTo>
                <a:cubicBezTo>
                  <a:pt x="4563646" y="4947988"/>
                  <a:pt x="4563646" y="4947988"/>
                  <a:pt x="4559040" y="4947988"/>
                </a:cubicBezTo>
                <a:cubicBezTo>
                  <a:pt x="4559040" y="4947988"/>
                  <a:pt x="4559040" y="4952593"/>
                  <a:pt x="4559040" y="4952593"/>
                </a:cubicBezTo>
                <a:cubicBezTo>
                  <a:pt x="4554435" y="4952593"/>
                  <a:pt x="4554435" y="4952593"/>
                  <a:pt x="4554435" y="4952593"/>
                </a:cubicBezTo>
                <a:cubicBezTo>
                  <a:pt x="4554434" y="4947988"/>
                  <a:pt x="4554434" y="4947988"/>
                  <a:pt x="4554434" y="4947988"/>
                </a:cubicBezTo>
                <a:cubicBezTo>
                  <a:pt x="4559040" y="4938776"/>
                  <a:pt x="4559040" y="4938776"/>
                  <a:pt x="4559040" y="4938776"/>
                </a:cubicBezTo>
                <a:cubicBezTo>
                  <a:pt x="4563646" y="4934170"/>
                  <a:pt x="4568253" y="4934170"/>
                  <a:pt x="4568252" y="4929565"/>
                </a:cubicBezTo>
                <a:cubicBezTo>
                  <a:pt x="4568252" y="4929565"/>
                  <a:pt x="4568252" y="4929565"/>
                  <a:pt x="4563646" y="4929564"/>
                </a:cubicBezTo>
                <a:cubicBezTo>
                  <a:pt x="4559040" y="4929565"/>
                  <a:pt x="4559040" y="4934170"/>
                  <a:pt x="4559040" y="4934170"/>
                </a:cubicBezTo>
                <a:cubicBezTo>
                  <a:pt x="4549829" y="4938776"/>
                  <a:pt x="4549829" y="4943382"/>
                  <a:pt x="4545223" y="4947988"/>
                </a:cubicBezTo>
                <a:cubicBezTo>
                  <a:pt x="4545223" y="4952593"/>
                  <a:pt x="4545223" y="4952593"/>
                  <a:pt x="4545223" y="4952593"/>
                </a:cubicBezTo>
                <a:cubicBezTo>
                  <a:pt x="4540617" y="4961804"/>
                  <a:pt x="4536012" y="4961805"/>
                  <a:pt x="4536012" y="4966410"/>
                </a:cubicBezTo>
                <a:cubicBezTo>
                  <a:pt x="4517589" y="4980227"/>
                  <a:pt x="4494560" y="4994044"/>
                  <a:pt x="4476137" y="5012467"/>
                </a:cubicBezTo>
                <a:cubicBezTo>
                  <a:pt x="4471532" y="5012467"/>
                  <a:pt x="4471532" y="5012467"/>
                  <a:pt x="4471532" y="5012467"/>
                </a:cubicBezTo>
                <a:cubicBezTo>
                  <a:pt x="4466926" y="5012467"/>
                  <a:pt x="4466926" y="5017073"/>
                  <a:pt x="4466926" y="5017073"/>
                </a:cubicBezTo>
                <a:cubicBezTo>
                  <a:pt x="4462320" y="5017073"/>
                  <a:pt x="4457714" y="5021679"/>
                  <a:pt x="4453109" y="5026283"/>
                </a:cubicBezTo>
                <a:cubicBezTo>
                  <a:pt x="4453109" y="5026283"/>
                  <a:pt x="4453109" y="5026283"/>
                  <a:pt x="4448503" y="5030890"/>
                </a:cubicBezTo>
                <a:cubicBezTo>
                  <a:pt x="4443898" y="5030890"/>
                  <a:pt x="4439291" y="5035496"/>
                  <a:pt x="4434686" y="5040101"/>
                </a:cubicBezTo>
                <a:cubicBezTo>
                  <a:pt x="4430080" y="5040101"/>
                  <a:pt x="4425474" y="5044707"/>
                  <a:pt x="4420869" y="5049313"/>
                </a:cubicBezTo>
                <a:cubicBezTo>
                  <a:pt x="4411657" y="5049313"/>
                  <a:pt x="4397840" y="5067736"/>
                  <a:pt x="4379417" y="5072340"/>
                </a:cubicBezTo>
                <a:cubicBezTo>
                  <a:pt x="4374811" y="5081553"/>
                  <a:pt x="4347177" y="5099975"/>
                  <a:pt x="4333360" y="5113792"/>
                </a:cubicBezTo>
                <a:cubicBezTo>
                  <a:pt x="4333360" y="5113792"/>
                  <a:pt x="4314937" y="5123004"/>
                  <a:pt x="4319543" y="5123004"/>
                </a:cubicBezTo>
                <a:cubicBezTo>
                  <a:pt x="4331057" y="5116095"/>
                  <a:pt x="4331057" y="5119550"/>
                  <a:pt x="4329330" y="5124155"/>
                </a:cubicBezTo>
                <a:lnTo>
                  <a:pt x="4328966" y="5125061"/>
                </a:lnTo>
                <a:lnTo>
                  <a:pt x="4356017" y="5108717"/>
                </a:lnTo>
                <a:lnTo>
                  <a:pt x="4376854" y="5097547"/>
                </a:lnTo>
                <a:lnTo>
                  <a:pt x="4384598" y="5092491"/>
                </a:lnTo>
                <a:cubicBezTo>
                  <a:pt x="4396688" y="5085007"/>
                  <a:pt x="4409354" y="5076947"/>
                  <a:pt x="4407051" y="5072341"/>
                </a:cubicBezTo>
                <a:cubicBezTo>
                  <a:pt x="4388629" y="5086158"/>
                  <a:pt x="4411657" y="5067736"/>
                  <a:pt x="4425474" y="5058524"/>
                </a:cubicBezTo>
                <a:cubicBezTo>
                  <a:pt x="4425474" y="5058524"/>
                  <a:pt x="4425474" y="5058524"/>
                  <a:pt x="4425474" y="5063130"/>
                </a:cubicBezTo>
                <a:cubicBezTo>
                  <a:pt x="4420869" y="5063130"/>
                  <a:pt x="4420869" y="5063130"/>
                  <a:pt x="4420869" y="5063130"/>
                </a:cubicBezTo>
                <a:cubicBezTo>
                  <a:pt x="4416263" y="5067736"/>
                  <a:pt x="4416263" y="5067736"/>
                  <a:pt x="4420869" y="5067736"/>
                </a:cubicBezTo>
                <a:cubicBezTo>
                  <a:pt x="4420869" y="5067736"/>
                  <a:pt x="4420869" y="5067736"/>
                  <a:pt x="4425475" y="5067736"/>
                </a:cubicBezTo>
                <a:cubicBezTo>
                  <a:pt x="4430081" y="5063130"/>
                  <a:pt x="4430081" y="5063130"/>
                  <a:pt x="4430081" y="5063130"/>
                </a:cubicBezTo>
                <a:cubicBezTo>
                  <a:pt x="4434687" y="5058524"/>
                  <a:pt x="4434686" y="5053918"/>
                  <a:pt x="4430080" y="5049313"/>
                </a:cubicBezTo>
                <a:cubicBezTo>
                  <a:pt x="4434686" y="5044707"/>
                  <a:pt x="4439291" y="5040101"/>
                  <a:pt x="4443897" y="5040101"/>
                </a:cubicBezTo>
                <a:cubicBezTo>
                  <a:pt x="4448503" y="5040101"/>
                  <a:pt x="4448503" y="5040101"/>
                  <a:pt x="4453109" y="5040101"/>
                </a:cubicBezTo>
                <a:cubicBezTo>
                  <a:pt x="4453109" y="5040101"/>
                  <a:pt x="4453109" y="5040101"/>
                  <a:pt x="4453109" y="5044707"/>
                </a:cubicBezTo>
                <a:cubicBezTo>
                  <a:pt x="4457715" y="5044707"/>
                  <a:pt x="4457714" y="5040100"/>
                  <a:pt x="4457714" y="5040100"/>
                </a:cubicBezTo>
                <a:cubicBezTo>
                  <a:pt x="4457714" y="5040100"/>
                  <a:pt x="4457714" y="5035496"/>
                  <a:pt x="4457714" y="5035496"/>
                </a:cubicBezTo>
                <a:cubicBezTo>
                  <a:pt x="4457714" y="5030890"/>
                  <a:pt x="4462320" y="5030890"/>
                  <a:pt x="4462320" y="5026284"/>
                </a:cubicBezTo>
                <a:cubicBezTo>
                  <a:pt x="4466926" y="5026284"/>
                  <a:pt x="4471531" y="5021679"/>
                  <a:pt x="4471531" y="5021679"/>
                </a:cubicBezTo>
                <a:cubicBezTo>
                  <a:pt x="4471531" y="5021679"/>
                  <a:pt x="4471531" y="5021679"/>
                  <a:pt x="4476137" y="5021679"/>
                </a:cubicBezTo>
                <a:cubicBezTo>
                  <a:pt x="4476137" y="5017072"/>
                  <a:pt x="4476137" y="5017072"/>
                  <a:pt x="4476137" y="5017072"/>
                </a:cubicBezTo>
                <a:cubicBezTo>
                  <a:pt x="4476137" y="5017072"/>
                  <a:pt x="4480743" y="5017073"/>
                  <a:pt x="4480743" y="5012467"/>
                </a:cubicBezTo>
                <a:cubicBezTo>
                  <a:pt x="4499166" y="4998650"/>
                  <a:pt x="4517589" y="4980227"/>
                  <a:pt x="4540617" y="4971016"/>
                </a:cubicBezTo>
                <a:cubicBezTo>
                  <a:pt x="4545224" y="4966410"/>
                  <a:pt x="4545224" y="4966410"/>
                  <a:pt x="4545224" y="4966410"/>
                </a:cubicBezTo>
                <a:cubicBezTo>
                  <a:pt x="4545224" y="4966410"/>
                  <a:pt x="4545224" y="4961805"/>
                  <a:pt x="4545224" y="4961805"/>
                </a:cubicBezTo>
                <a:cubicBezTo>
                  <a:pt x="4545224" y="4961805"/>
                  <a:pt x="4549829" y="4961805"/>
                  <a:pt x="4549829" y="4961805"/>
                </a:cubicBezTo>
                <a:cubicBezTo>
                  <a:pt x="4549829" y="4961805"/>
                  <a:pt x="4549829" y="4966410"/>
                  <a:pt x="4549829" y="4966410"/>
                </a:cubicBezTo>
                <a:cubicBezTo>
                  <a:pt x="4559040" y="4966410"/>
                  <a:pt x="4563646" y="4961805"/>
                  <a:pt x="4572858" y="4957199"/>
                </a:cubicBezTo>
                <a:cubicBezTo>
                  <a:pt x="4572858" y="4952593"/>
                  <a:pt x="4572858" y="4952593"/>
                  <a:pt x="4572858" y="4952593"/>
                </a:cubicBezTo>
                <a:cubicBezTo>
                  <a:pt x="4586675" y="4957199"/>
                  <a:pt x="4563646" y="4961805"/>
                  <a:pt x="4568252" y="4966410"/>
                </a:cubicBezTo>
                <a:cubicBezTo>
                  <a:pt x="4572859" y="4961805"/>
                  <a:pt x="4591280" y="4952593"/>
                  <a:pt x="4605098" y="4938776"/>
                </a:cubicBezTo>
                <a:cubicBezTo>
                  <a:pt x="4609703" y="4934170"/>
                  <a:pt x="4618915" y="4924959"/>
                  <a:pt x="4628126" y="4920353"/>
                </a:cubicBezTo>
                <a:cubicBezTo>
                  <a:pt x="4632733" y="4915748"/>
                  <a:pt x="4641944" y="4906536"/>
                  <a:pt x="4651155" y="4901931"/>
                </a:cubicBezTo>
                <a:cubicBezTo>
                  <a:pt x="4664972" y="4888114"/>
                  <a:pt x="4678789" y="4883508"/>
                  <a:pt x="4692606" y="4865085"/>
                </a:cubicBezTo>
                <a:cubicBezTo>
                  <a:pt x="4697212" y="4860479"/>
                  <a:pt x="4706424" y="4855874"/>
                  <a:pt x="4706424" y="4855874"/>
                </a:cubicBezTo>
                <a:cubicBezTo>
                  <a:pt x="4711029" y="4851268"/>
                  <a:pt x="4715635" y="4851268"/>
                  <a:pt x="4715635" y="4846662"/>
                </a:cubicBezTo>
                <a:cubicBezTo>
                  <a:pt x="4720241" y="4846662"/>
                  <a:pt x="4720241" y="4846662"/>
                  <a:pt x="4724846" y="4842057"/>
                </a:cubicBezTo>
                <a:cubicBezTo>
                  <a:pt x="4724846" y="4837451"/>
                  <a:pt x="4734058" y="4832845"/>
                  <a:pt x="4738664" y="4828240"/>
                </a:cubicBezTo>
                <a:cubicBezTo>
                  <a:pt x="4738664" y="4832845"/>
                  <a:pt x="4752481" y="4819028"/>
                  <a:pt x="4752481" y="4819028"/>
                </a:cubicBezTo>
                <a:cubicBezTo>
                  <a:pt x="4757086" y="4814422"/>
                  <a:pt x="4761692" y="4809816"/>
                  <a:pt x="4761692" y="4805211"/>
                </a:cubicBezTo>
                <a:cubicBezTo>
                  <a:pt x="4766298" y="4805211"/>
                  <a:pt x="4766298" y="4805211"/>
                  <a:pt x="4766298" y="4805211"/>
                </a:cubicBezTo>
                <a:cubicBezTo>
                  <a:pt x="4812355" y="4772970"/>
                  <a:pt x="4867624" y="4722309"/>
                  <a:pt x="4904470" y="4685463"/>
                </a:cubicBezTo>
                <a:cubicBezTo>
                  <a:pt x="4909075" y="4685463"/>
                  <a:pt x="4909075" y="4685463"/>
                  <a:pt x="4909075" y="4685463"/>
                </a:cubicBezTo>
                <a:cubicBezTo>
                  <a:pt x="4909075" y="4685463"/>
                  <a:pt x="4909075" y="4685463"/>
                  <a:pt x="4913681" y="4685463"/>
                </a:cubicBezTo>
                <a:cubicBezTo>
                  <a:pt x="4909076" y="4690069"/>
                  <a:pt x="4909076" y="4690069"/>
                  <a:pt x="4904470" y="4694674"/>
                </a:cubicBezTo>
                <a:cubicBezTo>
                  <a:pt x="4904470" y="4694674"/>
                  <a:pt x="4899864" y="4699279"/>
                  <a:pt x="4895258" y="4703886"/>
                </a:cubicBezTo>
                <a:cubicBezTo>
                  <a:pt x="4890652" y="4708492"/>
                  <a:pt x="4890652" y="4708492"/>
                  <a:pt x="4886047" y="4713096"/>
                </a:cubicBezTo>
                <a:cubicBezTo>
                  <a:pt x="4886047" y="4713096"/>
                  <a:pt x="4886047" y="4713096"/>
                  <a:pt x="4886047" y="4717703"/>
                </a:cubicBezTo>
                <a:cubicBezTo>
                  <a:pt x="4876835" y="4722309"/>
                  <a:pt x="4872230" y="4731520"/>
                  <a:pt x="4863018" y="4740731"/>
                </a:cubicBezTo>
                <a:cubicBezTo>
                  <a:pt x="4863018" y="4740731"/>
                  <a:pt x="4858412" y="4745337"/>
                  <a:pt x="4863018" y="4745336"/>
                </a:cubicBezTo>
                <a:cubicBezTo>
                  <a:pt x="4863018" y="4749943"/>
                  <a:pt x="4867625" y="4745337"/>
                  <a:pt x="4867625" y="4745337"/>
                </a:cubicBezTo>
                <a:cubicBezTo>
                  <a:pt x="4872231" y="4740731"/>
                  <a:pt x="4872231" y="4740731"/>
                  <a:pt x="4872231" y="4740731"/>
                </a:cubicBezTo>
                <a:cubicBezTo>
                  <a:pt x="4872231" y="4740731"/>
                  <a:pt x="4876835" y="4740731"/>
                  <a:pt x="4876835" y="4736126"/>
                </a:cubicBezTo>
                <a:cubicBezTo>
                  <a:pt x="4881441" y="4731520"/>
                  <a:pt x="4881441" y="4731520"/>
                  <a:pt x="4881441" y="4731520"/>
                </a:cubicBezTo>
                <a:cubicBezTo>
                  <a:pt x="4881442" y="4726914"/>
                  <a:pt x="4886047" y="4726913"/>
                  <a:pt x="4890652" y="4722309"/>
                </a:cubicBezTo>
                <a:cubicBezTo>
                  <a:pt x="4886047" y="4726913"/>
                  <a:pt x="4880865" y="4732383"/>
                  <a:pt x="4875828" y="4737564"/>
                </a:cubicBezTo>
                <a:lnTo>
                  <a:pt x="4863102" y="4749899"/>
                </a:lnTo>
                <a:lnTo>
                  <a:pt x="4863018" y="4749943"/>
                </a:lnTo>
                <a:lnTo>
                  <a:pt x="4863004" y="4749991"/>
                </a:lnTo>
                <a:lnTo>
                  <a:pt x="4861867" y="4751094"/>
                </a:lnTo>
                <a:cubicBezTo>
                  <a:pt x="4853807" y="4758003"/>
                  <a:pt x="4849201" y="4759154"/>
                  <a:pt x="4853808" y="4745337"/>
                </a:cubicBezTo>
                <a:cubicBezTo>
                  <a:pt x="4835384" y="4772971"/>
                  <a:pt x="4826172" y="4777577"/>
                  <a:pt x="4807749" y="4796000"/>
                </a:cubicBezTo>
                <a:cubicBezTo>
                  <a:pt x="4812355" y="4795999"/>
                  <a:pt x="4812355" y="4795999"/>
                  <a:pt x="4812355" y="4795999"/>
                </a:cubicBezTo>
                <a:cubicBezTo>
                  <a:pt x="4798538" y="4809817"/>
                  <a:pt x="4798538" y="4809817"/>
                  <a:pt x="4798538" y="4809817"/>
                </a:cubicBezTo>
                <a:cubicBezTo>
                  <a:pt x="4793932" y="4809817"/>
                  <a:pt x="4793932" y="4809817"/>
                  <a:pt x="4793932" y="4809817"/>
                </a:cubicBezTo>
                <a:cubicBezTo>
                  <a:pt x="4793932" y="4814422"/>
                  <a:pt x="4793932" y="4814422"/>
                  <a:pt x="4793932" y="4814422"/>
                </a:cubicBezTo>
                <a:cubicBezTo>
                  <a:pt x="4789328" y="4814422"/>
                  <a:pt x="4789328" y="4814422"/>
                  <a:pt x="4789328" y="4814422"/>
                </a:cubicBezTo>
                <a:cubicBezTo>
                  <a:pt x="4784722" y="4819028"/>
                  <a:pt x="4784721" y="4823634"/>
                  <a:pt x="4780116" y="4823634"/>
                </a:cubicBezTo>
                <a:cubicBezTo>
                  <a:pt x="4780115" y="4828240"/>
                  <a:pt x="4775509" y="4828240"/>
                  <a:pt x="4775510" y="4832845"/>
                </a:cubicBezTo>
                <a:cubicBezTo>
                  <a:pt x="4770904" y="4832845"/>
                  <a:pt x="4770905" y="4837451"/>
                  <a:pt x="4770905" y="4837451"/>
                </a:cubicBezTo>
                <a:cubicBezTo>
                  <a:pt x="4766298" y="4842057"/>
                  <a:pt x="4761692" y="4846662"/>
                  <a:pt x="4757086" y="4851268"/>
                </a:cubicBezTo>
                <a:cubicBezTo>
                  <a:pt x="4757087" y="4855874"/>
                  <a:pt x="4757087" y="4855874"/>
                  <a:pt x="4757087" y="4855874"/>
                </a:cubicBezTo>
                <a:cubicBezTo>
                  <a:pt x="4757087" y="4855874"/>
                  <a:pt x="4752481" y="4855873"/>
                  <a:pt x="4752481" y="4860479"/>
                </a:cubicBezTo>
                <a:cubicBezTo>
                  <a:pt x="4738664" y="4869691"/>
                  <a:pt x="4724846" y="4883508"/>
                  <a:pt x="4711029" y="4897325"/>
                </a:cubicBezTo>
                <a:cubicBezTo>
                  <a:pt x="4711029" y="4892719"/>
                  <a:pt x="4711029" y="4892719"/>
                  <a:pt x="4706424" y="4892719"/>
                </a:cubicBezTo>
                <a:cubicBezTo>
                  <a:pt x="4711029" y="4888113"/>
                  <a:pt x="4711029" y="4888113"/>
                  <a:pt x="4711029" y="4888113"/>
                </a:cubicBezTo>
                <a:cubicBezTo>
                  <a:pt x="4715635" y="4888114"/>
                  <a:pt x="4715635" y="4883508"/>
                  <a:pt x="4715635" y="4883508"/>
                </a:cubicBezTo>
                <a:cubicBezTo>
                  <a:pt x="4715635" y="4883508"/>
                  <a:pt x="4711029" y="4883508"/>
                  <a:pt x="4711029" y="4883508"/>
                </a:cubicBezTo>
                <a:cubicBezTo>
                  <a:pt x="4706424" y="4888114"/>
                  <a:pt x="4706424" y="4888114"/>
                  <a:pt x="4706424" y="4888114"/>
                </a:cubicBezTo>
                <a:cubicBezTo>
                  <a:pt x="4706424" y="4888114"/>
                  <a:pt x="4701818" y="4892719"/>
                  <a:pt x="4701818" y="4892719"/>
                </a:cubicBezTo>
                <a:cubicBezTo>
                  <a:pt x="4701818" y="4897325"/>
                  <a:pt x="4701818" y="4897325"/>
                  <a:pt x="4701818" y="4897325"/>
                </a:cubicBezTo>
                <a:cubicBezTo>
                  <a:pt x="4701818" y="4897325"/>
                  <a:pt x="4701818" y="4897325"/>
                  <a:pt x="4701818" y="4901931"/>
                </a:cubicBezTo>
                <a:cubicBezTo>
                  <a:pt x="4688001" y="4911142"/>
                  <a:pt x="4674183" y="4924959"/>
                  <a:pt x="4660367" y="4934170"/>
                </a:cubicBezTo>
                <a:cubicBezTo>
                  <a:pt x="4660367" y="4934170"/>
                  <a:pt x="4660367" y="4934170"/>
                  <a:pt x="4660366" y="4938775"/>
                </a:cubicBezTo>
                <a:cubicBezTo>
                  <a:pt x="4628126" y="4961805"/>
                  <a:pt x="4600492" y="4984832"/>
                  <a:pt x="4568252" y="5003256"/>
                </a:cubicBezTo>
                <a:cubicBezTo>
                  <a:pt x="4526800" y="5035496"/>
                  <a:pt x="4485349" y="5063130"/>
                  <a:pt x="4439291" y="5090764"/>
                </a:cubicBezTo>
                <a:cubicBezTo>
                  <a:pt x="4430080" y="5095370"/>
                  <a:pt x="4411657" y="5099975"/>
                  <a:pt x="4411657" y="5109187"/>
                </a:cubicBezTo>
                <a:cubicBezTo>
                  <a:pt x="4411657" y="5109187"/>
                  <a:pt x="4411657" y="5109187"/>
                  <a:pt x="4407051" y="5109187"/>
                </a:cubicBezTo>
                <a:cubicBezTo>
                  <a:pt x="4402446" y="5109187"/>
                  <a:pt x="4397840" y="5113792"/>
                  <a:pt x="4393235" y="5113792"/>
                </a:cubicBezTo>
                <a:cubicBezTo>
                  <a:pt x="4393235" y="5113792"/>
                  <a:pt x="4388628" y="5118398"/>
                  <a:pt x="4388628" y="5118398"/>
                </a:cubicBezTo>
                <a:cubicBezTo>
                  <a:pt x="4388628" y="5118398"/>
                  <a:pt x="4393234" y="5118398"/>
                  <a:pt x="4393234" y="5118398"/>
                </a:cubicBezTo>
                <a:cubicBezTo>
                  <a:pt x="4370206" y="5132215"/>
                  <a:pt x="4347177" y="5146032"/>
                  <a:pt x="4324148" y="5159849"/>
                </a:cubicBezTo>
                <a:cubicBezTo>
                  <a:pt x="4268881" y="5192089"/>
                  <a:pt x="4268881" y="5192089"/>
                  <a:pt x="4268881" y="5192089"/>
                </a:cubicBezTo>
                <a:lnTo>
                  <a:pt x="4265944" y="5193557"/>
                </a:lnTo>
                <a:lnTo>
                  <a:pt x="4264768" y="5194307"/>
                </a:lnTo>
                <a:lnTo>
                  <a:pt x="4163092" y="5246946"/>
                </a:lnTo>
                <a:lnTo>
                  <a:pt x="4162948" y="5247358"/>
                </a:lnTo>
                <a:lnTo>
                  <a:pt x="4150184" y="5253628"/>
                </a:lnTo>
                <a:lnTo>
                  <a:pt x="3989120" y="5337012"/>
                </a:lnTo>
                <a:cubicBezTo>
                  <a:pt x="3798040" y="5422195"/>
                  <a:pt x="3601776" y="5483787"/>
                  <a:pt x="3394459" y="5517046"/>
                </a:cubicBezTo>
                <a:cubicBezTo>
                  <a:pt x="3583078" y="5499719"/>
                  <a:pt x="3766224" y="5445956"/>
                  <a:pt x="3949658" y="5405038"/>
                </a:cubicBezTo>
                <a:lnTo>
                  <a:pt x="3950142" y="5407102"/>
                </a:lnTo>
                <a:lnTo>
                  <a:pt x="3997142" y="5385528"/>
                </a:lnTo>
                <a:cubicBezTo>
                  <a:pt x="4043200" y="5367106"/>
                  <a:pt x="4084651" y="5344077"/>
                  <a:pt x="4116891" y="5334866"/>
                </a:cubicBezTo>
                <a:cubicBezTo>
                  <a:pt x="4112286" y="5330260"/>
                  <a:pt x="4116891" y="5330260"/>
                  <a:pt x="4126102" y="5325654"/>
                </a:cubicBezTo>
                <a:cubicBezTo>
                  <a:pt x="4121496" y="5330260"/>
                  <a:pt x="4121496" y="5334866"/>
                  <a:pt x="4126103" y="5330259"/>
                </a:cubicBezTo>
                <a:cubicBezTo>
                  <a:pt x="4130708" y="5325654"/>
                  <a:pt x="4190582" y="5302626"/>
                  <a:pt x="4181371" y="5298020"/>
                </a:cubicBezTo>
                <a:cubicBezTo>
                  <a:pt x="4204399" y="5284203"/>
                  <a:pt x="4213611" y="5288809"/>
                  <a:pt x="4213611" y="5288809"/>
                </a:cubicBezTo>
                <a:cubicBezTo>
                  <a:pt x="4232034" y="5274992"/>
                  <a:pt x="4213611" y="5284203"/>
                  <a:pt x="4209005" y="5279597"/>
                </a:cubicBezTo>
                <a:cubicBezTo>
                  <a:pt x="4232034" y="5265780"/>
                  <a:pt x="4232034" y="5265780"/>
                  <a:pt x="4232034" y="5265780"/>
                </a:cubicBezTo>
                <a:cubicBezTo>
                  <a:pt x="4222822" y="5279597"/>
                  <a:pt x="4241245" y="5270386"/>
                  <a:pt x="4245851" y="5270386"/>
                </a:cubicBezTo>
                <a:cubicBezTo>
                  <a:pt x="4264274" y="5247358"/>
                  <a:pt x="4314937" y="5233540"/>
                  <a:pt x="4351784" y="5201301"/>
                </a:cubicBezTo>
                <a:cubicBezTo>
                  <a:pt x="4356388" y="5201301"/>
                  <a:pt x="4356388" y="5196695"/>
                  <a:pt x="4360994" y="5196695"/>
                </a:cubicBezTo>
                <a:cubicBezTo>
                  <a:pt x="4365600" y="5196695"/>
                  <a:pt x="4365600" y="5192088"/>
                  <a:pt x="4365600" y="5192088"/>
                </a:cubicBezTo>
                <a:cubicBezTo>
                  <a:pt x="4370206" y="5187484"/>
                  <a:pt x="4365600" y="5187484"/>
                  <a:pt x="4360994" y="5192089"/>
                </a:cubicBezTo>
                <a:cubicBezTo>
                  <a:pt x="4360994" y="5192089"/>
                  <a:pt x="4360994" y="5192089"/>
                  <a:pt x="4356388" y="5192089"/>
                </a:cubicBezTo>
                <a:cubicBezTo>
                  <a:pt x="4402446" y="5159849"/>
                  <a:pt x="4430081" y="5150638"/>
                  <a:pt x="4471531" y="5118398"/>
                </a:cubicBezTo>
                <a:cubicBezTo>
                  <a:pt x="4476137" y="5123004"/>
                  <a:pt x="4480744" y="5118398"/>
                  <a:pt x="4485349" y="5123004"/>
                </a:cubicBezTo>
                <a:cubicBezTo>
                  <a:pt x="4540617" y="5081553"/>
                  <a:pt x="4600492" y="5040101"/>
                  <a:pt x="4655761" y="4994044"/>
                </a:cubicBezTo>
                <a:cubicBezTo>
                  <a:pt x="4715635" y="4947988"/>
                  <a:pt x="4770904" y="4897325"/>
                  <a:pt x="4821567" y="4851268"/>
                </a:cubicBezTo>
                <a:cubicBezTo>
                  <a:pt x="4807749" y="4851268"/>
                  <a:pt x="4789327" y="4883508"/>
                  <a:pt x="4770904" y="4892719"/>
                </a:cubicBezTo>
                <a:cubicBezTo>
                  <a:pt x="4770904" y="4897325"/>
                  <a:pt x="4761692" y="4897325"/>
                  <a:pt x="4757086" y="4897325"/>
                </a:cubicBezTo>
                <a:cubicBezTo>
                  <a:pt x="4724846" y="4924959"/>
                  <a:pt x="4683395" y="4961805"/>
                  <a:pt x="4641944" y="4989439"/>
                </a:cubicBezTo>
                <a:cubicBezTo>
                  <a:pt x="4595886" y="5026284"/>
                  <a:pt x="4545223" y="5067736"/>
                  <a:pt x="4499166" y="5095370"/>
                </a:cubicBezTo>
                <a:cubicBezTo>
                  <a:pt x="4494560" y="5095369"/>
                  <a:pt x="4480743" y="5099975"/>
                  <a:pt x="4480743" y="5099975"/>
                </a:cubicBezTo>
                <a:cubicBezTo>
                  <a:pt x="4453109" y="5118398"/>
                  <a:pt x="4425474" y="5141427"/>
                  <a:pt x="4402446" y="5155244"/>
                </a:cubicBezTo>
                <a:cubicBezTo>
                  <a:pt x="4397840" y="5155244"/>
                  <a:pt x="4402446" y="5150638"/>
                  <a:pt x="4393234" y="5155244"/>
                </a:cubicBezTo>
                <a:cubicBezTo>
                  <a:pt x="4397840" y="5155244"/>
                  <a:pt x="4393234" y="5159848"/>
                  <a:pt x="4393235" y="5164455"/>
                </a:cubicBezTo>
                <a:cubicBezTo>
                  <a:pt x="4356388" y="5187484"/>
                  <a:pt x="4319543" y="5201301"/>
                  <a:pt x="4287304" y="5219723"/>
                </a:cubicBezTo>
                <a:cubicBezTo>
                  <a:pt x="4291908" y="5215118"/>
                  <a:pt x="4296514" y="5215117"/>
                  <a:pt x="4301120" y="5210512"/>
                </a:cubicBezTo>
                <a:cubicBezTo>
                  <a:pt x="4324148" y="5192089"/>
                  <a:pt x="4347177" y="5178272"/>
                  <a:pt x="4337965" y="5182878"/>
                </a:cubicBezTo>
                <a:cubicBezTo>
                  <a:pt x="4360994" y="5169061"/>
                  <a:pt x="4388628" y="5146032"/>
                  <a:pt x="4407051" y="5132215"/>
                </a:cubicBezTo>
                <a:cubicBezTo>
                  <a:pt x="4411657" y="5127610"/>
                  <a:pt x="4411657" y="5127610"/>
                  <a:pt x="4416263" y="5127609"/>
                </a:cubicBezTo>
                <a:cubicBezTo>
                  <a:pt x="4411657" y="5136821"/>
                  <a:pt x="4425474" y="5118398"/>
                  <a:pt x="4425474" y="5127610"/>
                </a:cubicBezTo>
                <a:cubicBezTo>
                  <a:pt x="4434686" y="5118398"/>
                  <a:pt x="4443897" y="5109186"/>
                  <a:pt x="4448503" y="5104581"/>
                </a:cubicBezTo>
                <a:cubicBezTo>
                  <a:pt x="4462320" y="5095370"/>
                  <a:pt x="4471531" y="5090763"/>
                  <a:pt x="4480744" y="5081553"/>
                </a:cubicBezTo>
                <a:cubicBezTo>
                  <a:pt x="4503773" y="5067736"/>
                  <a:pt x="4531406" y="5053918"/>
                  <a:pt x="4540617" y="5049313"/>
                </a:cubicBezTo>
                <a:cubicBezTo>
                  <a:pt x="4536012" y="5049313"/>
                  <a:pt x="4540617" y="5044707"/>
                  <a:pt x="4540617" y="5044707"/>
                </a:cubicBezTo>
                <a:cubicBezTo>
                  <a:pt x="4545223" y="5040101"/>
                  <a:pt x="4549829" y="5035495"/>
                  <a:pt x="4559040" y="5030890"/>
                </a:cubicBezTo>
                <a:cubicBezTo>
                  <a:pt x="4559040" y="5030890"/>
                  <a:pt x="4563646" y="5030890"/>
                  <a:pt x="4563647" y="5026284"/>
                </a:cubicBezTo>
                <a:cubicBezTo>
                  <a:pt x="4577463" y="5017072"/>
                  <a:pt x="4591280" y="5007862"/>
                  <a:pt x="4600492" y="4998650"/>
                </a:cubicBezTo>
                <a:cubicBezTo>
                  <a:pt x="4614309" y="4989439"/>
                  <a:pt x="4628126" y="4984833"/>
                  <a:pt x="4618915" y="4984832"/>
                </a:cubicBezTo>
                <a:cubicBezTo>
                  <a:pt x="4632732" y="4971016"/>
                  <a:pt x="4651155" y="4957199"/>
                  <a:pt x="4674183" y="4943382"/>
                </a:cubicBezTo>
                <a:cubicBezTo>
                  <a:pt x="4678789" y="4938776"/>
                  <a:pt x="4688002" y="4929565"/>
                  <a:pt x="4697212" y="4924959"/>
                </a:cubicBezTo>
                <a:cubicBezTo>
                  <a:pt x="4697212" y="4924959"/>
                  <a:pt x="4701818" y="4924959"/>
                  <a:pt x="4701818" y="4924959"/>
                </a:cubicBezTo>
                <a:cubicBezTo>
                  <a:pt x="4701818" y="4920352"/>
                  <a:pt x="4706424" y="4920353"/>
                  <a:pt x="4706424" y="4920353"/>
                </a:cubicBezTo>
                <a:cubicBezTo>
                  <a:pt x="4706424" y="4915748"/>
                  <a:pt x="4706424" y="4915748"/>
                  <a:pt x="4706424" y="4915748"/>
                </a:cubicBezTo>
                <a:cubicBezTo>
                  <a:pt x="4706424" y="4915748"/>
                  <a:pt x="4706424" y="4915748"/>
                  <a:pt x="4711029" y="4915748"/>
                </a:cubicBezTo>
                <a:cubicBezTo>
                  <a:pt x="4743269" y="4888114"/>
                  <a:pt x="4775509" y="4860479"/>
                  <a:pt x="4798538" y="4837451"/>
                </a:cubicBezTo>
                <a:cubicBezTo>
                  <a:pt x="4803144" y="4837451"/>
                  <a:pt x="4807749" y="4837451"/>
                  <a:pt x="4807749" y="4832845"/>
                </a:cubicBezTo>
                <a:cubicBezTo>
                  <a:pt x="4812355" y="4832845"/>
                  <a:pt x="4812355" y="4832845"/>
                  <a:pt x="4812355" y="4832845"/>
                </a:cubicBezTo>
                <a:cubicBezTo>
                  <a:pt x="4812355" y="4832845"/>
                  <a:pt x="4816961" y="4832845"/>
                  <a:pt x="4816962" y="4828240"/>
                </a:cubicBezTo>
                <a:cubicBezTo>
                  <a:pt x="4816961" y="4823634"/>
                  <a:pt x="4816961" y="4823634"/>
                  <a:pt x="4816961" y="4823634"/>
                </a:cubicBezTo>
                <a:cubicBezTo>
                  <a:pt x="4830779" y="4809817"/>
                  <a:pt x="4863019" y="4782183"/>
                  <a:pt x="4849202" y="4786788"/>
                </a:cubicBezTo>
                <a:cubicBezTo>
                  <a:pt x="4849202" y="4786788"/>
                  <a:pt x="4849202" y="4786788"/>
                  <a:pt x="4853807" y="4782183"/>
                </a:cubicBezTo>
                <a:cubicBezTo>
                  <a:pt x="4858412" y="4782182"/>
                  <a:pt x="4858413" y="4772971"/>
                  <a:pt x="4858413" y="4772971"/>
                </a:cubicBezTo>
                <a:lnTo>
                  <a:pt x="4849394" y="4772971"/>
                </a:lnTo>
                <a:lnTo>
                  <a:pt x="4858988" y="4763760"/>
                </a:lnTo>
                <a:lnTo>
                  <a:pt x="4863004" y="4749991"/>
                </a:lnTo>
                <a:lnTo>
                  <a:pt x="4863102" y="4749899"/>
                </a:lnTo>
                <a:lnTo>
                  <a:pt x="4879139" y="4741307"/>
                </a:lnTo>
                <a:cubicBezTo>
                  <a:pt x="4883744" y="4736125"/>
                  <a:pt x="4888350" y="4729216"/>
                  <a:pt x="4895259" y="4722309"/>
                </a:cubicBezTo>
                <a:cubicBezTo>
                  <a:pt x="4895259" y="4722309"/>
                  <a:pt x="4899864" y="4722309"/>
                  <a:pt x="4899864" y="4722309"/>
                </a:cubicBezTo>
                <a:cubicBezTo>
                  <a:pt x="4899865" y="4717703"/>
                  <a:pt x="4904470" y="4717703"/>
                  <a:pt x="4899865" y="4717703"/>
                </a:cubicBezTo>
                <a:cubicBezTo>
                  <a:pt x="4899865" y="4717703"/>
                  <a:pt x="4899865" y="4717703"/>
                  <a:pt x="4899864" y="4713097"/>
                </a:cubicBezTo>
                <a:cubicBezTo>
                  <a:pt x="4904470" y="4708492"/>
                  <a:pt x="4909075" y="4708492"/>
                  <a:pt x="4913681" y="4708491"/>
                </a:cubicBezTo>
                <a:cubicBezTo>
                  <a:pt x="4909075" y="4713097"/>
                  <a:pt x="4909075" y="4713097"/>
                  <a:pt x="4909075" y="4713097"/>
                </a:cubicBezTo>
                <a:cubicBezTo>
                  <a:pt x="4904470" y="4717703"/>
                  <a:pt x="4904470" y="4722309"/>
                  <a:pt x="4904470" y="4722309"/>
                </a:cubicBezTo>
                <a:cubicBezTo>
                  <a:pt x="4909076" y="4722309"/>
                  <a:pt x="4913681" y="4722308"/>
                  <a:pt x="4913682" y="4717703"/>
                </a:cubicBezTo>
                <a:cubicBezTo>
                  <a:pt x="4918287" y="4717703"/>
                  <a:pt x="4918287" y="4717703"/>
                  <a:pt x="4918287" y="4717703"/>
                </a:cubicBezTo>
                <a:cubicBezTo>
                  <a:pt x="4918287" y="4722309"/>
                  <a:pt x="4895258" y="4736126"/>
                  <a:pt x="4899864" y="4740731"/>
                </a:cubicBezTo>
                <a:cubicBezTo>
                  <a:pt x="4941315" y="4694674"/>
                  <a:pt x="4996584" y="4644012"/>
                  <a:pt x="5042641" y="4593349"/>
                </a:cubicBezTo>
                <a:cubicBezTo>
                  <a:pt x="5047247" y="4588743"/>
                  <a:pt x="5051853" y="4579532"/>
                  <a:pt x="5056459" y="4574925"/>
                </a:cubicBezTo>
                <a:cubicBezTo>
                  <a:pt x="5056459" y="4570321"/>
                  <a:pt x="5056459" y="4574925"/>
                  <a:pt x="5061064" y="4570321"/>
                </a:cubicBezTo>
                <a:cubicBezTo>
                  <a:pt x="5097910" y="4528869"/>
                  <a:pt x="5139362" y="4473601"/>
                  <a:pt x="5176207" y="4413727"/>
                </a:cubicBezTo>
                <a:cubicBezTo>
                  <a:pt x="5180813" y="4409120"/>
                  <a:pt x="5185419" y="4409121"/>
                  <a:pt x="5185419" y="4404516"/>
                </a:cubicBezTo>
                <a:cubicBezTo>
                  <a:pt x="5185419" y="4409121"/>
                  <a:pt x="5185420" y="4413726"/>
                  <a:pt x="5176207" y="4418332"/>
                </a:cubicBezTo>
                <a:cubicBezTo>
                  <a:pt x="5180813" y="4418333"/>
                  <a:pt x="5180813" y="4422937"/>
                  <a:pt x="5176207" y="4427544"/>
                </a:cubicBezTo>
                <a:cubicBezTo>
                  <a:pt x="5171602" y="4422938"/>
                  <a:pt x="5166996" y="4441361"/>
                  <a:pt x="5166996" y="4445967"/>
                </a:cubicBezTo>
                <a:cubicBezTo>
                  <a:pt x="5166996" y="4445967"/>
                  <a:pt x="5162390" y="4445966"/>
                  <a:pt x="5162390" y="4450573"/>
                </a:cubicBezTo>
                <a:cubicBezTo>
                  <a:pt x="5162390" y="4450573"/>
                  <a:pt x="5162390" y="4455178"/>
                  <a:pt x="5162390" y="4455178"/>
                </a:cubicBezTo>
                <a:cubicBezTo>
                  <a:pt x="5157784" y="4468994"/>
                  <a:pt x="5139362" y="4501235"/>
                  <a:pt x="5143967" y="4496629"/>
                </a:cubicBezTo>
                <a:cubicBezTo>
                  <a:pt x="5143967" y="4492024"/>
                  <a:pt x="5148574" y="4492024"/>
                  <a:pt x="5148573" y="4487417"/>
                </a:cubicBezTo>
                <a:cubicBezTo>
                  <a:pt x="5148574" y="4492024"/>
                  <a:pt x="5148573" y="4496630"/>
                  <a:pt x="5148573" y="4496630"/>
                </a:cubicBezTo>
                <a:cubicBezTo>
                  <a:pt x="5148573" y="4496630"/>
                  <a:pt x="5153179" y="4496630"/>
                  <a:pt x="5157784" y="4492024"/>
                </a:cubicBezTo>
                <a:cubicBezTo>
                  <a:pt x="5157784" y="4492024"/>
                  <a:pt x="5157784" y="4492024"/>
                  <a:pt x="5157785" y="4496630"/>
                </a:cubicBezTo>
                <a:cubicBezTo>
                  <a:pt x="5157785" y="4496630"/>
                  <a:pt x="5153179" y="4496630"/>
                  <a:pt x="5153179" y="4501235"/>
                </a:cubicBezTo>
                <a:cubicBezTo>
                  <a:pt x="5153179" y="4501235"/>
                  <a:pt x="5153179" y="4501235"/>
                  <a:pt x="5153180" y="4505840"/>
                </a:cubicBezTo>
                <a:cubicBezTo>
                  <a:pt x="5143967" y="4519658"/>
                  <a:pt x="5139362" y="4528869"/>
                  <a:pt x="5139362" y="4533474"/>
                </a:cubicBezTo>
                <a:cubicBezTo>
                  <a:pt x="5139362" y="4538081"/>
                  <a:pt x="5139362" y="4538081"/>
                  <a:pt x="5139362" y="4538081"/>
                </a:cubicBezTo>
                <a:cubicBezTo>
                  <a:pt x="5139362" y="4538081"/>
                  <a:pt x="5139362" y="4538081"/>
                  <a:pt x="5143968" y="4533475"/>
                </a:cubicBezTo>
                <a:cubicBezTo>
                  <a:pt x="5139362" y="4538081"/>
                  <a:pt x="5143967" y="4538081"/>
                  <a:pt x="5148573" y="4533475"/>
                </a:cubicBezTo>
                <a:cubicBezTo>
                  <a:pt x="5125544" y="4565715"/>
                  <a:pt x="5116333" y="4588744"/>
                  <a:pt x="5102516" y="4616378"/>
                </a:cubicBezTo>
                <a:cubicBezTo>
                  <a:pt x="5088699" y="4639406"/>
                  <a:pt x="5074881" y="4662435"/>
                  <a:pt x="5051853" y="4694674"/>
                </a:cubicBezTo>
                <a:cubicBezTo>
                  <a:pt x="5056459" y="4690068"/>
                  <a:pt x="5056459" y="4694674"/>
                  <a:pt x="5051853" y="4699279"/>
                </a:cubicBezTo>
                <a:cubicBezTo>
                  <a:pt x="5051853" y="4699279"/>
                  <a:pt x="5051853" y="4699279"/>
                  <a:pt x="5047247" y="4699280"/>
                </a:cubicBezTo>
                <a:cubicBezTo>
                  <a:pt x="5047247" y="4699280"/>
                  <a:pt x="5047247" y="4703886"/>
                  <a:pt x="5047247" y="4703886"/>
                </a:cubicBezTo>
                <a:cubicBezTo>
                  <a:pt x="5042641" y="4708492"/>
                  <a:pt x="5042641" y="4708492"/>
                  <a:pt x="5042641" y="4708492"/>
                </a:cubicBezTo>
                <a:cubicBezTo>
                  <a:pt x="5033430" y="4722308"/>
                  <a:pt x="5033430" y="4722308"/>
                  <a:pt x="5033430" y="4722308"/>
                </a:cubicBezTo>
                <a:cubicBezTo>
                  <a:pt x="5038036" y="4722309"/>
                  <a:pt x="5033430" y="4726914"/>
                  <a:pt x="5033431" y="4731520"/>
                </a:cubicBezTo>
                <a:cubicBezTo>
                  <a:pt x="5042641" y="4722309"/>
                  <a:pt x="5038036" y="4722309"/>
                  <a:pt x="5042641" y="4713097"/>
                </a:cubicBezTo>
                <a:cubicBezTo>
                  <a:pt x="5042641" y="4713097"/>
                  <a:pt x="5047248" y="4713097"/>
                  <a:pt x="5047248" y="4713097"/>
                </a:cubicBezTo>
                <a:cubicBezTo>
                  <a:pt x="5047248" y="4713097"/>
                  <a:pt x="5047248" y="4713097"/>
                  <a:pt x="5047247" y="4717703"/>
                </a:cubicBezTo>
                <a:cubicBezTo>
                  <a:pt x="5051853" y="4717703"/>
                  <a:pt x="5051853" y="4713096"/>
                  <a:pt x="5051853" y="4713096"/>
                </a:cubicBezTo>
                <a:cubicBezTo>
                  <a:pt x="5051853" y="4713096"/>
                  <a:pt x="5051853" y="4708492"/>
                  <a:pt x="5051853" y="4708492"/>
                </a:cubicBezTo>
                <a:cubicBezTo>
                  <a:pt x="5056459" y="4703885"/>
                  <a:pt x="5056459" y="4703885"/>
                  <a:pt x="5056459" y="4703885"/>
                </a:cubicBezTo>
                <a:cubicBezTo>
                  <a:pt x="5061064" y="4699280"/>
                  <a:pt x="5061064" y="4685463"/>
                  <a:pt x="5065670" y="4690069"/>
                </a:cubicBezTo>
                <a:cubicBezTo>
                  <a:pt x="5074881" y="4685463"/>
                  <a:pt x="5061064" y="4685463"/>
                  <a:pt x="5065670" y="4680857"/>
                </a:cubicBezTo>
                <a:cubicBezTo>
                  <a:pt x="5070276" y="4676252"/>
                  <a:pt x="5070276" y="4680857"/>
                  <a:pt x="5074881" y="4680857"/>
                </a:cubicBezTo>
                <a:cubicBezTo>
                  <a:pt x="5079487" y="4671646"/>
                  <a:pt x="5088699" y="4648618"/>
                  <a:pt x="5088699" y="4648618"/>
                </a:cubicBezTo>
                <a:cubicBezTo>
                  <a:pt x="5097911" y="4630194"/>
                  <a:pt x="5120939" y="4602561"/>
                  <a:pt x="5125545" y="4593349"/>
                </a:cubicBezTo>
                <a:cubicBezTo>
                  <a:pt x="5130150" y="4588744"/>
                  <a:pt x="5125545" y="4593349"/>
                  <a:pt x="5120939" y="4593349"/>
                </a:cubicBezTo>
                <a:cubicBezTo>
                  <a:pt x="5125545" y="4593349"/>
                  <a:pt x="5130150" y="4584138"/>
                  <a:pt x="5130150" y="4584138"/>
                </a:cubicBezTo>
                <a:cubicBezTo>
                  <a:pt x="5130150" y="4584138"/>
                  <a:pt x="5130150" y="4574926"/>
                  <a:pt x="5130150" y="4574926"/>
                </a:cubicBezTo>
                <a:cubicBezTo>
                  <a:pt x="5134756" y="4570321"/>
                  <a:pt x="5134757" y="4579532"/>
                  <a:pt x="5134756" y="4574926"/>
                </a:cubicBezTo>
                <a:cubicBezTo>
                  <a:pt x="5143967" y="4570321"/>
                  <a:pt x="5134756" y="4561109"/>
                  <a:pt x="5143967" y="4565715"/>
                </a:cubicBezTo>
                <a:cubicBezTo>
                  <a:pt x="5148573" y="4547292"/>
                  <a:pt x="5162391" y="4510447"/>
                  <a:pt x="5176207" y="4501235"/>
                </a:cubicBezTo>
                <a:cubicBezTo>
                  <a:pt x="5176207" y="4505841"/>
                  <a:pt x="5171602" y="4505840"/>
                  <a:pt x="5166996" y="4501234"/>
                </a:cubicBezTo>
                <a:cubicBezTo>
                  <a:pt x="5190024" y="4468995"/>
                  <a:pt x="5217660" y="4418333"/>
                  <a:pt x="5222265" y="4399910"/>
                </a:cubicBezTo>
                <a:cubicBezTo>
                  <a:pt x="5226871" y="4390699"/>
                  <a:pt x="5263716" y="4340036"/>
                  <a:pt x="5263716" y="4317007"/>
                </a:cubicBezTo>
                <a:cubicBezTo>
                  <a:pt x="5268322" y="4307795"/>
                  <a:pt x="5263716" y="4317007"/>
                  <a:pt x="5268323" y="4317008"/>
                </a:cubicBezTo>
                <a:cubicBezTo>
                  <a:pt x="5268323" y="4303190"/>
                  <a:pt x="5286745" y="4275556"/>
                  <a:pt x="5295956" y="4261739"/>
                </a:cubicBezTo>
                <a:cubicBezTo>
                  <a:pt x="5295956" y="4261739"/>
                  <a:pt x="5291351" y="4270951"/>
                  <a:pt x="5295956" y="4275555"/>
                </a:cubicBezTo>
                <a:cubicBezTo>
                  <a:pt x="5305168" y="4243316"/>
                  <a:pt x="5300562" y="4252528"/>
                  <a:pt x="5291350" y="4257134"/>
                </a:cubicBezTo>
                <a:cubicBezTo>
                  <a:pt x="5309773" y="4220288"/>
                  <a:pt x="5309773" y="4215682"/>
                  <a:pt x="5328196" y="4197259"/>
                </a:cubicBezTo>
                <a:cubicBezTo>
                  <a:pt x="5328196" y="4197259"/>
                  <a:pt x="5332802" y="4192654"/>
                  <a:pt x="5332802" y="4192654"/>
                </a:cubicBezTo>
                <a:cubicBezTo>
                  <a:pt x="5332802" y="4192654"/>
                  <a:pt x="5332802" y="4192654"/>
                  <a:pt x="5332802" y="4188048"/>
                </a:cubicBezTo>
                <a:cubicBezTo>
                  <a:pt x="5332802" y="4188048"/>
                  <a:pt x="5328197" y="4188048"/>
                  <a:pt x="5328197" y="4188048"/>
                </a:cubicBezTo>
                <a:cubicBezTo>
                  <a:pt x="5328197" y="4188048"/>
                  <a:pt x="5328196" y="4183441"/>
                  <a:pt x="5332802" y="4178837"/>
                </a:cubicBezTo>
                <a:cubicBezTo>
                  <a:pt x="5332802" y="4178837"/>
                  <a:pt x="5332802" y="4178837"/>
                  <a:pt x="5332803" y="4183442"/>
                </a:cubicBezTo>
                <a:cubicBezTo>
                  <a:pt x="5332803" y="4183442"/>
                  <a:pt x="5332803" y="4183442"/>
                  <a:pt x="5337408" y="4183442"/>
                </a:cubicBezTo>
                <a:cubicBezTo>
                  <a:pt x="5337408" y="4178837"/>
                  <a:pt x="5337408" y="4178837"/>
                  <a:pt x="5337408" y="4174231"/>
                </a:cubicBezTo>
                <a:cubicBezTo>
                  <a:pt x="5342014" y="4169624"/>
                  <a:pt x="5342014" y="4169624"/>
                  <a:pt x="5342014" y="4169624"/>
                </a:cubicBezTo>
                <a:cubicBezTo>
                  <a:pt x="5346619" y="4165020"/>
                  <a:pt x="5355831" y="4141991"/>
                  <a:pt x="5342014" y="4155808"/>
                </a:cubicBezTo>
                <a:cubicBezTo>
                  <a:pt x="5346619" y="4151203"/>
                  <a:pt x="5346619" y="4151203"/>
                  <a:pt x="5346620" y="4146597"/>
                </a:cubicBezTo>
                <a:cubicBezTo>
                  <a:pt x="5346620" y="4146597"/>
                  <a:pt x="5342013" y="4146597"/>
                  <a:pt x="5342014" y="4151203"/>
                </a:cubicBezTo>
                <a:cubicBezTo>
                  <a:pt x="5342014" y="4151203"/>
                  <a:pt x="5337408" y="4151203"/>
                  <a:pt x="5337408" y="4155807"/>
                </a:cubicBezTo>
                <a:cubicBezTo>
                  <a:pt x="5337408" y="4151203"/>
                  <a:pt x="5337408" y="4146597"/>
                  <a:pt x="5337408" y="4146597"/>
                </a:cubicBezTo>
                <a:cubicBezTo>
                  <a:pt x="5342013" y="4141991"/>
                  <a:pt x="5346619" y="4132780"/>
                  <a:pt x="5351225" y="4118963"/>
                </a:cubicBezTo>
                <a:cubicBezTo>
                  <a:pt x="5360436" y="4100540"/>
                  <a:pt x="5369649" y="4082117"/>
                  <a:pt x="5374253" y="4068300"/>
                </a:cubicBezTo>
                <a:cubicBezTo>
                  <a:pt x="5374253" y="4063693"/>
                  <a:pt x="5378859" y="4063694"/>
                  <a:pt x="5378859" y="4063694"/>
                </a:cubicBezTo>
                <a:cubicBezTo>
                  <a:pt x="5378859" y="4063694"/>
                  <a:pt x="5378859" y="4059089"/>
                  <a:pt x="5378859" y="4059089"/>
                </a:cubicBezTo>
                <a:cubicBezTo>
                  <a:pt x="5378859" y="4049877"/>
                  <a:pt x="5383465" y="4040666"/>
                  <a:pt x="5388071" y="4036060"/>
                </a:cubicBezTo>
                <a:cubicBezTo>
                  <a:pt x="5388071" y="4031455"/>
                  <a:pt x="5392676" y="4022243"/>
                  <a:pt x="5392676" y="4017638"/>
                </a:cubicBezTo>
                <a:cubicBezTo>
                  <a:pt x="5397282" y="4008426"/>
                  <a:pt x="5406494" y="3994609"/>
                  <a:pt x="5411099" y="3985398"/>
                </a:cubicBezTo>
                <a:cubicBezTo>
                  <a:pt x="5415706" y="3985398"/>
                  <a:pt x="5415706" y="3985398"/>
                  <a:pt x="5415706" y="3985398"/>
                </a:cubicBezTo>
                <a:cubicBezTo>
                  <a:pt x="5415705" y="3980791"/>
                  <a:pt x="5415705" y="3980791"/>
                  <a:pt x="5415705" y="3976186"/>
                </a:cubicBezTo>
                <a:cubicBezTo>
                  <a:pt x="5420311" y="3971580"/>
                  <a:pt x="5415705" y="3971581"/>
                  <a:pt x="5415705" y="3971581"/>
                </a:cubicBezTo>
                <a:cubicBezTo>
                  <a:pt x="5411100" y="3976186"/>
                  <a:pt x="5411100" y="3976186"/>
                  <a:pt x="5411100" y="3976186"/>
                </a:cubicBezTo>
                <a:cubicBezTo>
                  <a:pt x="5415705" y="3966974"/>
                  <a:pt x="5429523" y="3953157"/>
                  <a:pt x="5424916" y="3943946"/>
                </a:cubicBezTo>
                <a:cubicBezTo>
                  <a:pt x="5429522" y="3943946"/>
                  <a:pt x="5429522" y="3943946"/>
                  <a:pt x="5429522" y="3939340"/>
                </a:cubicBezTo>
                <a:cubicBezTo>
                  <a:pt x="5434128" y="3934735"/>
                  <a:pt x="5429523" y="3934735"/>
                  <a:pt x="5429523" y="3934735"/>
                </a:cubicBezTo>
                <a:cubicBezTo>
                  <a:pt x="5438735" y="3920918"/>
                  <a:pt x="5429522" y="3907101"/>
                  <a:pt x="5438734" y="3902495"/>
                </a:cubicBezTo>
                <a:cubicBezTo>
                  <a:pt x="5438734" y="3907101"/>
                  <a:pt x="5438734" y="3907101"/>
                  <a:pt x="5438734" y="3907101"/>
                </a:cubicBezTo>
                <a:cubicBezTo>
                  <a:pt x="5434128" y="3916312"/>
                  <a:pt x="5434128" y="3920918"/>
                  <a:pt x="5438735" y="3920918"/>
                </a:cubicBezTo>
                <a:cubicBezTo>
                  <a:pt x="5438735" y="3920918"/>
                  <a:pt x="5443340" y="3916312"/>
                  <a:pt x="5443339" y="3911706"/>
                </a:cubicBezTo>
                <a:cubicBezTo>
                  <a:pt x="5447945" y="3907101"/>
                  <a:pt x="5447945" y="3907101"/>
                  <a:pt x="5447945" y="3907101"/>
                </a:cubicBezTo>
                <a:cubicBezTo>
                  <a:pt x="5457156" y="3907100"/>
                  <a:pt x="5452551" y="3920918"/>
                  <a:pt x="5443339" y="3925524"/>
                </a:cubicBezTo>
                <a:cubicBezTo>
                  <a:pt x="5452551" y="3920918"/>
                  <a:pt x="5447945" y="3943946"/>
                  <a:pt x="5452551" y="3930129"/>
                </a:cubicBezTo>
                <a:cubicBezTo>
                  <a:pt x="5443339" y="3920918"/>
                  <a:pt x="5470974" y="3916312"/>
                  <a:pt x="5466368" y="3897889"/>
                </a:cubicBezTo>
                <a:cubicBezTo>
                  <a:pt x="5470974" y="3893283"/>
                  <a:pt x="5470974" y="3893283"/>
                  <a:pt x="5470974" y="3893283"/>
                </a:cubicBezTo>
                <a:cubicBezTo>
                  <a:pt x="5470974" y="3893283"/>
                  <a:pt x="5470974" y="3888678"/>
                  <a:pt x="5470974" y="3888678"/>
                </a:cubicBezTo>
                <a:cubicBezTo>
                  <a:pt x="5475579" y="3884071"/>
                  <a:pt x="5470974" y="3884072"/>
                  <a:pt x="5470974" y="3884072"/>
                </a:cubicBezTo>
                <a:cubicBezTo>
                  <a:pt x="5470974" y="3888678"/>
                  <a:pt x="5466368" y="3888677"/>
                  <a:pt x="5466368" y="3888677"/>
                </a:cubicBezTo>
                <a:cubicBezTo>
                  <a:pt x="5466368" y="3884072"/>
                  <a:pt x="5470974" y="3874861"/>
                  <a:pt x="5466368" y="3874861"/>
                </a:cubicBezTo>
                <a:cubicBezTo>
                  <a:pt x="5461762" y="3879467"/>
                  <a:pt x="5466368" y="3870255"/>
                  <a:pt x="5461762" y="3870254"/>
                </a:cubicBezTo>
                <a:cubicBezTo>
                  <a:pt x="5457157" y="3879467"/>
                  <a:pt x="5457156" y="3884072"/>
                  <a:pt x="5452551" y="3893283"/>
                </a:cubicBezTo>
                <a:cubicBezTo>
                  <a:pt x="5452551" y="3888678"/>
                  <a:pt x="5452551" y="3888678"/>
                  <a:pt x="5452551" y="3888678"/>
                </a:cubicBezTo>
                <a:cubicBezTo>
                  <a:pt x="5452551" y="3884072"/>
                  <a:pt x="5452551" y="3879466"/>
                  <a:pt x="5447945" y="3879467"/>
                </a:cubicBezTo>
                <a:lnTo>
                  <a:pt x="5443975" y="3887407"/>
                </a:lnTo>
                <a:lnTo>
                  <a:pt x="5444491" y="3878891"/>
                </a:lnTo>
                <a:cubicBezTo>
                  <a:pt x="5446794" y="3872558"/>
                  <a:pt x="5450248" y="3865649"/>
                  <a:pt x="5452551" y="3856438"/>
                </a:cubicBezTo>
                <a:cubicBezTo>
                  <a:pt x="5434128" y="3884072"/>
                  <a:pt x="5447945" y="3851833"/>
                  <a:pt x="5438734" y="3842620"/>
                </a:cubicBezTo>
                <a:cubicBezTo>
                  <a:pt x="5443339" y="3838015"/>
                  <a:pt x="5443340" y="3847226"/>
                  <a:pt x="5443340" y="3847226"/>
                </a:cubicBezTo>
                <a:cubicBezTo>
                  <a:pt x="5447945" y="3847227"/>
                  <a:pt x="5447945" y="3847227"/>
                  <a:pt x="5447945" y="3847227"/>
                </a:cubicBezTo>
                <a:cubicBezTo>
                  <a:pt x="5447945" y="3851833"/>
                  <a:pt x="5447945" y="3851833"/>
                  <a:pt x="5452551" y="3847227"/>
                </a:cubicBezTo>
                <a:cubicBezTo>
                  <a:pt x="5452551" y="3847227"/>
                  <a:pt x="5452551" y="3842620"/>
                  <a:pt x="5452552" y="3838015"/>
                </a:cubicBezTo>
                <a:cubicBezTo>
                  <a:pt x="5452552" y="3833410"/>
                  <a:pt x="5452552" y="3833410"/>
                  <a:pt x="5452552" y="3833410"/>
                </a:cubicBezTo>
                <a:cubicBezTo>
                  <a:pt x="5457157" y="3828803"/>
                  <a:pt x="5461762" y="3833409"/>
                  <a:pt x="5461762" y="3824198"/>
                </a:cubicBezTo>
                <a:cubicBezTo>
                  <a:pt x="5461762" y="3828804"/>
                  <a:pt x="5461762" y="3828804"/>
                  <a:pt x="5461762" y="3833409"/>
                </a:cubicBezTo>
                <a:cubicBezTo>
                  <a:pt x="5461762" y="3838015"/>
                  <a:pt x="5466369" y="3838014"/>
                  <a:pt x="5466369" y="3833410"/>
                </a:cubicBezTo>
                <a:cubicBezTo>
                  <a:pt x="5470974" y="3833410"/>
                  <a:pt x="5470975" y="3828803"/>
                  <a:pt x="5470974" y="3824198"/>
                </a:cubicBezTo>
                <a:cubicBezTo>
                  <a:pt x="5470974" y="3819593"/>
                  <a:pt x="5470974" y="3819593"/>
                  <a:pt x="5470974" y="3814986"/>
                </a:cubicBezTo>
                <a:cubicBezTo>
                  <a:pt x="5470974" y="3805776"/>
                  <a:pt x="5466368" y="3796563"/>
                  <a:pt x="5461763" y="3805776"/>
                </a:cubicBezTo>
                <a:cubicBezTo>
                  <a:pt x="5461762" y="3801170"/>
                  <a:pt x="5461762" y="3801170"/>
                  <a:pt x="5457156" y="3801170"/>
                </a:cubicBezTo>
                <a:cubicBezTo>
                  <a:pt x="5457156" y="3801170"/>
                  <a:pt x="5457156" y="3801170"/>
                  <a:pt x="5452551" y="3805776"/>
                </a:cubicBezTo>
                <a:cubicBezTo>
                  <a:pt x="5452552" y="3801169"/>
                  <a:pt x="5457157" y="3791958"/>
                  <a:pt x="5457156" y="3782747"/>
                </a:cubicBezTo>
                <a:cubicBezTo>
                  <a:pt x="5457157" y="3791958"/>
                  <a:pt x="5452552" y="3801169"/>
                  <a:pt x="5457156" y="3796564"/>
                </a:cubicBezTo>
                <a:cubicBezTo>
                  <a:pt x="5466368" y="3791959"/>
                  <a:pt x="5457156" y="3782747"/>
                  <a:pt x="5466368" y="3778141"/>
                </a:cubicBezTo>
                <a:cubicBezTo>
                  <a:pt x="5470975" y="3778140"/>
                  <a:pt x="5470975" y="3778140"/>
                  <a:pt x="5470975" y="3778140"/>
                </a:cubicBezTo>
                <a:cubicBezTo>
                  <a:pt x="5470975" y="3778140"/>
                  <a:pt x="5470975" y="3778140"/>
                  <a:pt x="5470974" y="3773536"/>
                </a:cubicBezTo>
                <a:cubicBezTo>
                  <a:pt x="5470974" y="3773536"/>
                  <a:pt x="5470974" y="3773536"/>
                  <a:pt x="5470974" y="3768930"/>
                </a:cubicBezTo>
                <a:cubicBezTo>
                  <a:pt x="5466368" y="3768930"/>
                  <a:pt x="5466368" y="3768930"/>
                  <a:pt x="5466368" y="3768930"/>
                </a:cubicBezTo>
                <a:cubicBezTo>
                  <a:pt x="5470974" y="3764323"/>
                  <a:pt x="5470974" y="3764323"/>
                  <a:pt x="5475579" y="3759719"/>
                </a:cubicBezTo>
                <a:cubicBezTo>
                  <a:pt x="5470974" y="3750506"/>
                  <a:pt x="5475579" y="3741295"/>
                  <a:pt x="5475579" y="3732085"/>
                </a:cubicBezTo>
                <a:cubicBezTo>
                  <a:pt x="5475580" y="3736690"/>
                  <a:pt x="5475579" y="3741295"/>
                  <a:pt x="5475579" y="3741295"/>
                </a:cubicBezTo>
                <a:cubicBezTo>
                  <a:pt x="5480185" y="3722873"/>
                  <a:pt x="5475579" y="3727478"/>
                  <a:pt x="5484791" y="3713662"/>
                </a:cubicBezTo>
                <a:cubicBezTo>
                  <a:pt x="5484791" y="3718267"/>
                  <a:pt x="5489397" y="3718267"/>
                  <a:pt x="5489397" y="3718267"/>
                </a:cubicBezTo>
                <a:cubicBezTo>
                  <a:pt x="5489397" y="3718267"/>
                  <a:pt x="5489397" y="3713661"/>
                  <a:pt x="5489397" y="3713661"/>
                </a:cubicBezTo>
                <a:cubicBezTo>
                  <a:pt x="5494002" y="3713662"/>
                  <a:pt x="5494002" y="3713662"/>
                  <a:pt x="5494002" y="3713662"/>
                </a:cubicBezTo>
                <a:cubicBezTo>
                  <a:pt x="5484791" y="3741296"/>
                  <a:pt x="5494002" y="3718267"/>
                  <a:pt x="5498608" y="3718266"/>
                </a:cubicBezTo>
                <a:cubicBezTo>
                  <a:pt x="5494002" y="3732085"/>
                  <a:pt x="5489397" y="3745902"/>
                  <a:pt x="5489397" y="3759719"/>
                </a:cubicBezTo>
                <a:cubicBezTo>
                  <a:pt x="5484791" y="3759719"/>
                  <a:pt x="5484791" y="3759719"/>
                  <a:pt x="5484791" y="3759719"/>
                </a:cubicBezTo>
                <a:cubicBezTo>
                  <a:pt x="5480185" y="3768929"/>
                  <a:pt x="5480185" y="3773536"/>
                  <a:pt x="5480185" y="3778141"/>
                </a:cubicBezTo>
                <a:cubicBezTo>
                  <a:pt x="5484791" y="3768930"/>
                  <a:pt x="5484791" y="3764324"/>
                  <a:pt x="5489397" y="3764323"/>
                </a:cubicBezTo>
                <a:cubicBezTo>
                  <a:pt x="5484791" y="3778141"/>
                  <a:pt x="5489397" y="3778140"/>
                  <a:pt x="5484791" y="3787352"/>
                </a:cubicBezTo>
                <a:cubicBezTo>
                  <a:pt x="5484791" y="3787352"/>
                  <a:pt x="5484791" y="3791959"/>
                  <a:pt x="5480185" y="3791959"/>
                </a:cubicBezTo>
                <a:cubicBezTo>
                  <a:pt x="5480185" y="3796563"/>
                  <a:pt x="5480185" y="3796563"/>
                  <a:pt x="5480185" y="3796563"/>
                </a:cubicBezTo>
                <a:cubicBezTo>
                  <a:pt x="5480185" y="3801170"/>
                  <a:pt x="5480185" y="3805776"/>
                  <a:pt x="5484791" y="3801169"/>
                </a:cubicBezTo>
                <a:cubicBezTo>
                  <a:pt x="5489397" y="3796564"/>
                  <a:pt x="5489397" y="3796564"/>
                  <a:pt x="5489397" y="3796564"/>
                </a:cubicBezTo>
                <a:cubicBezTo>
                  <a:pt x="5494001" y="3796564"/>
                  <a:pt x="5494002" y="3791958"/>
                  <a:pt x="5494002" y="3787353"/>
                </a:cubicBezTo>
                <a:cubicBezTo>
                  <a:pt x="5494002" y="3782747"/>
                  <a:pt x="5494002" y="3782747"/>
                  <a:pt x="5494002" y="3782747"/>
                </a:cubicBezTo>
                <a:cubicBezTo>
                  <a:pt x="5489397" y="3782747"/>
                  <a:pt x="5489397" y="3782747"/>
                  <a:pt x="5489397" y="3782747"/>
                </a:cubicBezTo>
                <a:cubicBezTo>
                  <a:pt x="5489397" y="3768930"/>
                  <a:pt x="5503214" y="3736689"/>
                  <a:pt x="5503214" y="3718267"/>
                </a:cubicBezTo>
                <a:cubicBezTo>
                  <a:pt x="5507819" y="3713661"/>
                  <a:pt x="5507819" y="3713661"/>
                  <a:pt x="5507819" y="3713661"/>
                </a:cubicBezTo>
                <a:cubicBezTo>
                  <a:pt x="5507819" y="3713661"/>
                  <a:pt x="5507819" y="3713661"/>
                  <a:pt x="5507818" y="3709056"/>
                </a:cubicBezTo>
                <a:cubicBezTo>
                  <a:pt x="5507818" y="3709056"/>
                  <a:pt x="5507819" y="3704450"/>
                  <a:pt x="5507819" y="3704450"/>
                </a:cubicBezTo>
                <a:cubicBezTo>
                  <a:pt x="5507819" y="3695239"/>
                  <a:pt x="5512425" y="3681422"/>
                  <a:pt x="5517031" y="3676816"/>
                </a:cubicBezTo>
                <a:cubicBezTo>
                  <a:pt x="5512425" y="3676815"/>
                  <a:pt x="5512425" y="3676815"/>
                  <a:pt x="5512425" y="3676815"/>
                </a:cubicBezTo>
                <a:cubicBezTo>
                  <a:pt x="5517031" y="3672211"/>
                  <a:pt x="5517031" y="3672211"/>
                  <a:pt x="5517031" y="3672211"/>
                </a:cubicBezTo>
                <a:cubicBezTo>
                  <a:pt x="5517031" y="3672211"/>
                  <a:pt x="5521637" y="3667605"/>
                  <a:pt x="5521637" y="3662998"/>
                </a:cubicBezTo>
                <a:cubicBezTo>
                  <a:pt x="5521637" y="3662998"/>
                  <a:pt x="5521637" y="3658393"/>
                  <a:pt x="5517031" y="3658392"/>
                </a:cubicBezTo>
                <a:cubicBezTo>
                  <a:pt x="5521637" y="3612337"/>
                  <a:pt x="5535454" y="3589308"/>
                  <a:pt x="5530848" y="3557068"/>
                </a:cubicBezTo>
                <a:cubicBezTo>
                  <a:pt x="5535454" y="3557068"/>
                  <a:pt x="5535454" y="3552463"/>
                  <a:pt x="5535454" y="3547857"/>
                </a:cubicBezTo>
                <a:cubicBezTo>
                  <a:pt x="5535454" y="3547857"/>
                  <a:pt x="5535454" y="3543250"/>
                  <a:pt x="5535454" y="3543250"/>
                </a:cubicBezTo>
                <a:cubicBezTo>
                  <a:pt x="5530848" y="3543251"/>
                  <a:pt x="5530848" y="3543251"/>
                  <a:pt x="5530848" y="3543251"/>
                </a:cubicBezTo>
                <a:cubicBezTo>
                  <a:pt x="5540059" y="3538645"/>
                  <a:pt x="5540059" y="3524828"/>
                  <a:pt x="5540059" y="3515617"/>
                </a:cubicBezTo>
                <a:cubicBezTo>
                  <a:pt x="5540059" y="3515617"/>
                  <a:pt x="5540059" y="3511011"/>
                  <a:pt x="5540059" y="3511011"/>
                </a:cubicBezTo>
                <a:cubicBezTo>
                  <a:pt x="5544665" y="3506406"/>
                  <a:pt x="5544665" y="3506406"/>
                  <a:pt x="5540059" y="3501800"/>
                </a:cubicBezTo>
                <a:cubicBezTo>
                  <a:pt x="5540059" y="3497194"/>
                  <a:pt x="5540059" y="3497194"/>
                  <a:pt x="5540059" y="3497194"/>
                </a:cubicBezTo>
                <a:cubicBezTo>
                  <a:pt x="5540059" y="3497194"/>
                  <a:pt x="5544665" y="3497193"/>
                  <a:pt x="5544665" y="3492589"/>
                </a:cubicBezTo>
                <a:cubicBezTo>
                  <a:pt x="5544665" y="3492589"/>
                  <a:pt x="5544665" y="3492589"/>
                  <a:pt x="5544664" y="3487983"/>
                </a:cubicBezTo>
                <a:cubicBezTo>
                  <a:pt x="5540059" y="3478770"/>
                  <a:pt x="5553877" y="3460349"/>
                  <a:pt x="5544665" y="3460349"/>
                </a:cubicBezTo>
                <a:cubicBezTo>
                  <a:pt x="5544665" y="3460349"/>
                  <a:pt x="5544665" y="3460349"/>
                  <a:pt x="5544665" y="3455742"/>
                </a:cubicBezTo>
                <a:cubicBezTo>
                  <a:pt x="5544665" y="3451137"/>
                  <a:pt x="5544665" y="3446532"/>
                  <a:pt x="5544665" y="3446532"/>
                </a:cubicBezTo>
                <a:cubicBezTo>
                  <a:pt x="5544665" y="3446532"/>
                  <a:pt x="5544665" y="3441926"/>
                  <a:pt x="5544665" y="3441926"/>
                </a:cubicBezTo>
                <a:cubicBezTo>
                  <a:pt x="5553877" y="3437319"/>
                  <a:pt x="5544665" y="3418896"/>
                  <a:pt x="5544665" y="3409686"/>
                </a:cubicBezTo>
                <a:cubicBezTo>
                  <a:pt x="5544665" y="3395869"/>
                  <a:pt x="5553877" y="3405080"/>
                  <a:pt x="5553876" y="3391263"/>
                </a:cubicBezTo>
                <a:cubicBezTo>
                  <a:pt x="5553876" y="3391263"/>
                  <a:pt x="5553877" y="3386657"/>
                  <a:pt x="5558482" y="3386658"/>
                </a:cubicBezTo>
                <a:cubicBezTo>
                  <a:pt x="5558482" y="3386658"/>
                  <a:pt x="5558482" y="3382052"/>
                  <a:pt x="5558482" y="3382052"/>
                </a:cubicBezTo>
                <a:cubicBezTo>
                  <a:pt x="5558482" y="3377445"/>
                  <a:pt x="5558482" y="3377445"/>
                  <a:pt x="5553877" y="3382052"/>
                </a:cubicBezTo>
                <a:cubicBezTo>
                  <a:pt x="5553877" y="3382052"/>
                  <a:pt x="5553877" y="3382052"/>
                  <a:pt x="5553877" y="3386657"/>
                </a:cubicBezTo>
                <a:cubicBezTo>
                  <a:pt x="5549271" y="3377446"/>
                  <a:pt x="5553877" y="3368235"/>
                  <a:pt x="5549271" y="3368235"/>
                </a:cubicBezTo>
                <a:cubicBezTo>
                  <a:pt x="5553876" y="3354418"/>
                  <a:pt x="5553877" y="3368235"/>
                  <a:pt x="5558482" y="3368235"/>
                </a:cubicBezTo>
                <a:lnTo>
                  <a:pt x="5562808" y="3372560"/>
                </a:lnTo>
                <a:lnTo>
                  <a:pt x="5561145" y="3398244"/>
                </a:lnTo>
                <a:cubicBezTo>
                  <a:pt x="5560497" y="3424367"/>
                  <a:pt x="5563088" y="3440774"/>
                  <a:pt x="5563087" y="3464954"/>
                </a:cubicBezTo>
                <a:cubicBezTo>
                  <a:pt x="5563087" y="3464954"/>
                  <a:pt x="5558482" y="3464953"/>
                  <a:pt x="5558481" y="3469560"/>
                </a:cubicBezTo>
                <a:cubicBezTo>
                  <a:pt x="5558481" y="3469560"/>
                  <a:pt x="5558482" y="3474166"/>
                  <a:pt x="5558482" y="3474166"/>
                </a:cubicBezTo>
                <a:cubicBezTo>
                  <a:pt x="5558482" y="3487983"/>
                  <a:pt x="5558482" y="3492588"/>
                  <a:pt x="5563088" y="3497193"/>
                </a:cubicBezTo>
                <a:cubicBezTo>
                  <a:pt x="5563088" y="3478771"/>
                  <a:pt x="5563088" y="3478771"/>
                  <a:pt x="5563088" y="3478771"/>
                </a:cubicBezTo>
                <a:cubicBezTo>
                  <a:pt x="5563088" y="3478771"/>
                  <a:pt x="5563088" y="3483376"/>
                  <a:pt x="5567694" y="3483377"/>
                </a:cubicBezTo>
                <a:cubicBezTo>
                  <a:pt x="5567694" y="3483377"/>
                  <a:pt x="5567694" y="3478771"/>
                  <a:pt x="5567694" y="3478771"/>
                </a:cubicBezTo>
                <a:cubicBezTo>
                  <a:pt x="5567694" y="3474165"/>
                  <a:pt x="5567694" y="3474165"/>
                  <a:pt x="5567694" y="3474165"/>
                </a:cubicBezTo>
                <a:cubicBezTo>
                  <a:pt x="5567694" y="3469560"/>
                  <a:pt x="5567694" y="3469560"/>
                  <a:pt x="5567694" y="3469560"/>
                </a:cubicBezTo>
                <a:cubicBezTo>
                  <a:pt x="5576904" y="3460349"/>
                  <a:pt x="5586117" y="3455743"/>
                  <a:pt x="5590722" y="3423503"/>
                </a:cubicBezTo>
                <a:cubicBezTo>
                  <a:pt x="5609145" y="3400474"/>
                  <a:pt x="5622963" y="3354418"/>
                  <a:pt x="5632173" y="3322178"/>
                </a:cubicBezTo>
                <a:cubicBezTo>
                  <a:pt x="5632173" y="3317572"/>
                  <a:pt x="5636779" y="3317572"/>
                  <a:pt x="5636779" y="3317572"/>
                </a:cubicBezTo>
                <a:cubicBezTo>
                  <a:pt x="5636779" y="3317572"/>
                  <a:pt x="5641385" y="3317572"/>
                  <a:pt x="5641385" y="3312967"/>
                </a:cubicBezTo>
                <a:cubicBezTo>
                  <a:pt x="5641385" y="3312967"/>
                  <a:pt x="5641385" y="3317572"/>
                  <a:pt x="5645991" y="3317572"/>
                </a:cubicBezTo>
                <a:cubicBezTo>
                  <a:pt x="5645991" y="3308361"/>
                  <a:pt x="5645991" y="3303754"/>
                  <a:pt x="5645991" y="3303754"/>
                </a:cubicBezTo>
                <a:cubicBezTo>
                  <a:pt x="5655203" y="3276121"/>
                  <a:pt x="5659808" y="3239275"/>
                  <a:pt x="5664414" y="3216247"/>
                </a:cubicBezTo>
                <a:cubicBezTo>
                  <a:pt x="5669019" y="3211641"/>
                  <a:pt x="5669019" y="3220853"/>
                  <a:pt x="5669019" y="3225458"/>
                </a:cubicBezTo>
                <a:cubicBezTo>
                  <a:pt x="5673625" y="3211641"/>
                  <a:pt x="5682837" y="3156373"/>
                  <a:pt x="5696654" y="3170190"/>
                </a:cubicBezTo>
                <a:cubicBezTo>
                  <a:pt x="5696654" y="3179401"/>
                  <a:pt x="5696654" y="3179401"/>
                  <a:pt x="5696654" y="3179401"/>
                </a:cubicBezTo>
                <a:cubicBezTo>
                  <a:pt x="5696654" y="3184006"/>
                  <a:pt x="5696654" y="3184006"/>
                  <a:pt x="5696654" y="3184006"/>
                </a:cubicBezTo>
                <a:cubicBezTo>
                  <a:pt x="5696654" y="3184006"/>
                  <a:pt x="5701259" y="3184007"/>
                  <a:pt x="5701258" y="3179401"/>
                </a:cubicBezTo>
                <a:cubicBezTo>
                  <a:pt x="5701259" y="3170190"/>
                  <a:pt x="5701259" y="3170190"/>
                  <a:pt x="5701259" y="3170190"/>
                </a:cubicBezTo>
                <a:cubicBezTo>
                  <a:pt x="5705864" y="3188612"/>
                  <a:pt x="5701259" y="3216247"/>
                  <a:pt x="5701259" y="3243881"/>
                </a:cubicBezTo>
                <a:cubicBezTo>
                  <a:pt x="5724288" y="3266910"/>
                  <a:pt x="5742711" y="3188613"/>
                  <a:pt x="5747317" y="3124133"/>
                </a:cubicBezTo>
                <a:cubicBezTo>
                  <a:pt x="5751923" y="3119527"/>
                  <a:pt x="5756529" y="3124133"/>
                  <a:pt x="5765738" y="3110316"/>
                </a:cubicBezTo>
                <a:cubicBezTo>
                  <a:pt x="5761134" y="3124133"/>
                  <a:pt x="5765739" y="3124133"/>
                  <a:pt x="5770345" y="3124132"/>
                </a:cubicBezTo>
                <a:cubicBezTo>
                  <a:pt x="5770345" y="3160979"/>
                  <a:pt x="5765739" y="3197823"/>
                  <a:pt x="5765739" y="3234670"/>
                </a:cubicBezTo>
                <a:cubicBezTo>
                  <a:pt x="5765739" y="3257698"/>
                  <a:pt x="5774951" y="3234670"/>
                  <a:pt x="5784163" y="3253092"/>
                </a:cubicBezTo>
                <a:cubicBezTo>
                  <a:pt x="5779557" y="3276120"/>
                  <a:pt x="5784163" y="3285332"/>
                  <a:pt x="5779557" y="3312966"/>
                </a:cubicBezTo>
                <a:cubicBezTo>
                  <a:pt x="5784163" y="3312967"/>
                  <a:pt x="5788768" y="3303755"/>
                  <a:pt x="5788769" y="3285331"/>
                </a:cubicBezTo>
                <a:cubicBezTo>
                  <a:pt x="5788769" y="3294544"/>
                  <a:pt x="5793374" y="3303755"/>
                  <a:pt x="5788769" y="3322177"/>
                </a:cubicBezTo>
                <a:cubicBezTo>
                  <a:pt x="5793374" y="3312966"/>
                  <a:pt x="5797980" y="3317571"/>
                  <a:pt x="5802585" y="3303754"/>
                </a:cubicBezTo>
                <a:cubicBezTo>
                  <a:pt x="5793373" y="3382052"/>
                  <a:pt x="5784163" y="3460348"/>
                  <a:pt x="5770345" y="3538644"/>
                </a:cubicBezTo>
                <a:cubicBezTo>
                  <a:pt x="5770345" y="3547857"/>
                  <a:pt x="5770345" y="3557068"/>
                  <a:pt x="5765739" y="3561673"/>
                </a:cubicBezTo>
                <a:cubicBezTo>
                  <a:pt x="5599934" y="4492024"/>
                  <a:pt x="4959738" y="5251963"/>
                  <a:pt x="4103074" y="5597389"/>
                </a:cubicBezTo>
                <a:cubicBezTo>
                  <a:pt x="4103074" y="5597389"/>
                  <a:pt x="4103074" y="5597389"/>
                  <a:pt x="4098468" y="5597390"/>
                </a:cubicBezTo>
                <a:cubicBezTo>
                  <a:pt x="4098468" y="5597390"/>
                  <a:pt x="4093862" y="5597390"/>
                  <a:pt x="4093862" y="5597390"/>
                </a:cubicBezTo>
                <a:cubicBezTo>
                  <a:pt x="4103074" y="5592785"/>
                  <a:pt x="4098468" y="5588179"/>
                  <a:pt x="4089256" y="5592785"/>
                </a:cubicBezTo>
                <a:cubicBezTo>
                  <a:pt x="4098468" y="5588179"/>
                  <a:pt x="4098468" y="5588179"/>
                  <a:pt x="4098468" y="5588179"/>
                </a:cubicBezTo>
                <a:cubicBezTo>
                  <a:pt x="4103075" y="5583573"/>
                  <a:pt x="4103075" y="5583573"/>
                  <a:pt x="4098468" y="5578967"/>
                </a:cubicBezTo>
                <a:cubicBezTo>
                  <a:pt x="4098468" y="5578967"/>
                  <a:pt x="4093862" y="5578967"/>
                  <a:pt x="4089257" y="5583573"/>
                </a:cubicBezTo>
                <a:cubicBezTo>
                  <a:pt x="4084652" y="5588179"/>
                  <a:pt x="4084652" y="5588179"/>
                  <a:pt x="4084652" y="5588179"/>
                </a:cubicBezTo>
                <a:cubicBezTo>
                  <a:pt x="4080045" y="5588179"/>
                  <a:pt x="4080045" y="5588179"/>
                  <a:pt x="4080045" y="5588179"/>
                </a:cubicBezTo>
                <a:cubicBezTo>
                  <a:pt x="4080046" y="5578967"/>
                  <a:pt x="4075439" y="5578967"/>
                  <a:pt x="4066228" y="5583573"/>
                </a:cubicBezTo>
                <a:cubicBezTo>
                  <a:pt x="4057016" y="5592785"/>
                  <a:pt x="4066228" y="5588179"/>
                  <a:pt x="4061622" y="5597390"/>
                </a:cubicBezTo>
                <a:cubicBezTo>
                  <a:pt x="4070834" y="5592785"/>
                  <a:pt x="4070834" y="5592785"/>
                  <a:pt x="4070834" y="5592785"/>
                </a:cubicBezTo>
                <a:cubicBezTo>
                  <a:pt x="4066228" y="5597390"/>
                  <a:pt x="4061622" y="5597390"/>
                  <a:pt x="4066228" y="5601996"/>
                </a:cubicBezTo>
                <a:cubicBezTo>
                  <a:pt x="4070834" y="5601996"/>
                  <a:pt x="4075440" y="5601996"/>
                  <a:pt x="4080045" y="5597390"/>
                </a:cubicBezTo>
                <a:cubicBezTo>
                  <a:pt x="4084651" y="5592785"/>
                  <a:pt x="4084651" y="5592785"/>
                  <a:pt x="4084651" y="5592785"/>
                </a:cubicBezTo>
                <a:cubicBezTo>
                  <a:pt x="4084651" y="5597389"/>
                  <a:pt x="4080045" y="5597390"/>
                  <a:pt x="4080045" y="5601996"/>
                </a:cubicBezTo>
                <a:cubicBezTo>
                  <a:pt x="4075440" y="5601996"/>
                  <a:pt x="4075440" y="5601996"/>
                  <a:pt x="4075440" y="5601996"/>
                </a:cubicBezTo>
                <a:cubicBezTo>
                  <a:pt x="4070834" y="5606602"/>
                  <a:pt x="4070834" y="5606602"/>
                  <a:pt x="4070834" y="5606602"/>
                </a:cubicBezTo>
                <a:cubicBezTo>
                  <a:pt x="4070834" y="5611207"/>
                  <a:pt x="4070834" y="5611207"/>
                  <a:pt x="4070834" y="5611207"/>
                </a:cubicBezTo>
                <a:cubicBezTo>
                  <a:pt x="4001748" y="5638841"/>
                  <a:pt x="3928056" y="5661870"/>
                  <a:pt x="3854364" y="5684898"/>
                </a:cubicBezTo>
                <a:cubicBezTo>
                  <a:pt x="3854364" y="5680293"/>
                  <a:pt x="3849759" y="5675687"/>
                  <a:pt x="3840547" y="5680293"/>
                </a:cubicBezTo>
                <a:cubicBezTo>
                  <a:pt x="3840547" y="5684898"/>
                  <a:pt x="3840547" y="5684898"/>
                  <a:pt x="3840547" y="5684898"/>
                </a:cubicBezTo>
                <a:cubicBezTo>
                  <a:pt x="3605655" y="5753984"/>
                  <a:pt x="3352341" y="5790829"/>
                  <a:pt x="3094420" y="5790829"/>
                </a:cubicBezTo>
                <a:cubicBezTo>
                  <a:pt x="2486465" y="5790829"/>
                  <a:pt x="1924566" y="5592785"/>
                  <a:pt x="1468600" y="5251963"/>
                </a:cubicBezTo>
                <a:cubicBezTo>
                  <a:pt x="1477811" y="5256569"/>
                  <a:pt x="1482417" y="5256568"/>
                  <a:pt x="1482417" y="5251963"/>
                </a:cubicBezTo>
                <a:cubicBezTo>
                  <a:pt x="1454783" y="5219723"/>
                  <a:pt x="1445571" y="5228935"/>
                  <a:pt x="1413332" y="5205906"/>
                </a:cubicBezTo>
                <a:cubicBezTo>
                  <a:pt x="1413332" y="5205906"/>
                  <a:pt x="1413332" y="5210512"/>
                  <a:pt x="1413332" y="5210512"/>
                </a:cubicBezTo>
                <a:cubicBezTo>
                  <a:pt x="1385697" y="5187484"/>
                  <a:pt x="1362668" y="5169061"/>
                  <a:pt x="1335034" y="5146032"/>
                </a:cubicBezTo>
                <a:cubicBezTo>
                  <a:pt x="1330428" y="5136821"/>
                  <a:pt x="1298188" y="5109187"/>
                  <a:pt x="1288976" y="5104580"/>
                </a:cubicBezTo>
                <a:cubicBezTo>
                  <a:pt x="1288976" y="5099975"/>
                  <a:pt x="1284370" y="5099975"/>
                  <a:pt x="1284370" y="5099975"/>
                </a:cubicBezTo>
                <a:cubicBezTo>
                  <a:pt x="1279765" y="5095370"/>
                  <a:pt x="1279765" y="5095370"/>
                  <a:pt x="1279765" y="5099975"/>
                </a:cubicBezTo>
                <a:cubicBezTo>
                  <a:pt x="1279765" y="5095370"/>
                  <a:pt x="1275160" y="5095369"/>
                  <a:pt x="1275160" y="5090764"/>
                </a:cubicBezTo>
                <a:cubicBezTo>
                  <a:pt x="1265948" y="5086158"/>
                  <a:pt x="1256737" y="5076947"/>
                  <a:pt x="1252130" y="5072341"/>
                </a:cubicBezTo>
                <a:cubicBezTo>
                  <a:pt x="1229102" y="5053918"/>
                  <a:pt x="1210679" y="5030890"/>
                  <a:pt x="1187651" y="5012467"/>
                </a:cubicBezTo>
                <a:cubicBezTo>
                  <a:pt x="1178439" y="5003256"/>
                  <a:pt x="1169228" y="4994044"/>
                  <a:pt x="1160017" y="4984833"/>
                </a:cubicBezTo>
                <a:cubicBezTo>
                  <a:pt x="1141593" y="4966409"/>
                  <a:pt x="1123170" y="4943382"/>
                  <a:pt x="1104748" y="4924959"/>
                </a:cubicBezTo>
                <a:cubicBezTo>
                  <a:pt x="1104748" y="4924959"/>
                  <a:pt x="1109354" y="4924959"/>
                  <a:pt x="1109354" y="4924959"/>
                </a:cubicBezTo>
                <a:cubicBezTo>
                  <a:pt x="1104748" y="4920353"/>
                  <a:pt x="1100142" y="4920353"/>
                  <a:pt x="1095536" y="4915748"/>
                </a:cubicBezTo>
                <a:cubicBezTo>
                  <a:pt x="1017238" y="4830542"/>
                  <a:pt x="944698" y="4740731"/>
                  <a:pt x="877915" y="4646315"/>
                </a:cubicBezTo>
                <a:lnTo>
                  <a:pt x="863038" y="4623799"/>
                </a:lnTo>
                <a:lnTo>
                  <a:pt x="798472" y="4539243"/>
                </a:lnTo>
                <a:lnTo>
                  <a:pt x="805376" y="4551898"/>
                </a:lnTo>
                <a:lnTo>
                  <a:pt x="787589" y="4524991"/>
                </a:lnTo>
                <a:lnTo>
                  <a:pt x="780720" y="4515996"/>
                </a:lnTo>
                <a:lnTo>
                  <a:pt x="763924" y="4501235"/>
                </a:lnTo>
                <a:cubicBezTo>
                  <a:pt x="768530" y="4519658"/>
                  <a:pt x="786953" y="4547292"/>
                  <a:pt x="800770" y="4570321"/>
                </a:cubicBezTo>
                <a:cubicBezTo>
                  <a:pt x="819192" y="4593349"/>
                  <a:pt x="833009" y="4611772"/>
                  <a:pt x="842221" y="4611772"/>
                </a:cubicBezTo>
                <a:cubicBezTo>
                  <a:pt x="833010" y="4593349"/>
                  <a:pt x="819193" y="4574925"/>
                  <a:pt x="809982" y="4556504"/>
                </a:cubicBezTo>
                <a:cubicBezTo>
                  <a:pt x="837616" y="4602561"/>
                  <a:pt x="869856" y="4648618"/>
                  <a:pt x="902096" y="4699280"/>
                </a:cubicBezTo>
                <a:cubicBezTo>
                  <a:pt x="902096" y="4717703"/>
                  <a:pt x="929729" y="4754548"/>
                  <a:pt x="957364" y="4777577"/>
                </a:cubicBezTo>
                <a:cubicBezTo>
                  <a:pt x="971182" y="4796000"/>
                  <a:pt x="989604" y="4819028"/>
                  <a:pt x="994210" y="4832845"/>
                </a:cubicBezTo>
                <a:cubicBezTo>
                  <a:pt x="1003422" y="4832845"/>
                  <a:pt x="1012633" y="4846662"/>
                  <a:pt x="1021844" y="4855874"/>
                </a:cubicBezTo>
                <a:cubicBezTo>
                  <a:pt x="1606771" y="5560545"/>
                  <a:pt x="2532522" y="5956634"/>
                  <a:pt x="3504329" y="5818463"/>
                </a:cubicBezTo>
                <a:cubicBezTo>
                  <a:pt x="3895816" y="5763195"/>
                  <a:pt x="4255062" y="5629630"/>
                  <a:pt x="4568253" y="5431585"/>
                </a:cubicBezTo>
                <a:cubicBezTo>
                  <a:pt x="5277533" y="4984833"/>
                  <a:pt x="5756529" y="4224894"/>
                  <a:pt x="5830220" y="3372841"/>
                </a:cubicBezTo>
                <a:cubicBezTo>
                  <a:pt x="5834825" y="3312967"/>
                  <a:pt x="5839431" y="3257697"/>
                  <a:pt x="5839431" y="3197824"/>
                </a:cubicBezTo>
                <a:cubicBezTo>
                  <a:pt x="5839431" y="3197824"/>
                  <a:pt x="5844037" y="3197824"/>
                  <a:pt x="5844037" y="3193218"/>
                </a:cubicBezTo>
                <a:cubicBezTo>
                  <a:pt x="5844037" y="3179400"/>
                  <a:pt x="5844037" y="3179400"/>
                  <a:pt x="5844037" y="3179400"/>
                </a:cubicBezTo>
                <a:cubicBezTo>
                  <a:pt x="5844037" y="3179400"/>
                  <a:pt x="5844037" y="3174796"/>
                  <a:pt x="5839431" y="3174796"/>
                </a:cubicBezTo>
                <a:lnTo>
                  <a:pt x="5839431" y="3045835"/>
                </a:lnTo>
                <a:cubicBezTo>
                  <a:pt x="5834825" y="2944511"/>
                  <a:pt x="5825614" y="2847792"/>
                  <a:pt x="5811797" y="2746466"/>
                </a:cubicBezTo>
                <a:cubicBezTo>
                  <a:pt x="5765739" y="2419461"/>
                  <a:pt x="5664414" y="2110880"/>
                  <a:pt x="5512425" y="1834539"/>
                </a:cubicBezTo>
                <a:cubicBezTo>
                  <a:pt x="5434129" y="1677946"/>
                  <a:pt x="5332802" y="1525958"/>
                  <a:pt x="5222265" y="1383181"/>
                </a:cubicBezTo>
                <a:cubicBezTo>
                  <a:pt x="5226870" y="1387787"/>
                  <a:pt x="5226870" y="1387787"/>
                  <a:pt x="5231476" y="1387787"/>
                </a:cubicBezTo>
                <a:cubicBezTo>
                  <a:pt x="5222266" y="1373970"/>
                  <a:pt x="5199236" y="1346336"/>
                  <a:pt x="5180813" y="1323307"/>
                </a:cubicBezTo>
                <a:cubicBezTo>
                  <a:pt x="5166997" y="1309491"/>
                  <a:pt x="5157784" y="1295673"/>
                  <a:pt x="5148573" y="1291067"/>
                </a:cubicBezTo>
                <a:cubicBezTo>
                  <a:pt x="5116333" y="1258828"/>
                  <a:pt x="5084093" y="1221982"/>
                  <a:pt x="5051854" y="1189742"/>
                </a:cubicBezTo>
                <a:cubicBezTo>
                  <a:pt x="5042641" y="1175925"/>
                  <a:pt x="5028824" y="1162108"/>
                  <a:pt x="5015007" y="1152898"/>
                </a:cubicBezTo>
                <a:cubicBezTo>
                  <a:pt x="4909075" y="1042360"/>
                  <a:pt x="4789327" y="945640"/>
                  <a:pt x="4660366" y="853527"/>
                </a:cubicBezTo>
                <a:cubicBezTo>
                  <a:pt x="4701818" y="876555"/>
                  <a:pt x="4743269" y="899584"/>
                  <a:pt x="4775510" y="918006"/>
                </a:cubicBezTo>
                <a:cubicBezTo>
                  <a:pt x="4775509" y="927218"/>
                  <a:pt x="4793932" y="936429"/>
                  <a:pt x="4793932" y="941035"/>
                </a:cubicBezTo>
                <a:cubicBezTo>
                  <a:pt x="4830778" y="964063"/>
                  <a:pt x="4872230" y="1000909"/>
                  <a:pt x="4909076" y="1014726"/>
                </a:cubicBezTo>
                <a:cubicBezTo>
                  <a:pt x="4895258" y="1000909"/>
                  <a:pt x="4876835" y="982486"/>
                  <a:pt x="4881441" y="973275"/>
                </a:cubicBezTo>
                <a:cubicBezTo>
                  <a:pt x="4858412" y="954852"/>
                  <a:pt x="4803145" y="913402"/>
                  <a:pt x="4784721" y="908795"/>
                </a:cubicBezTo>
                <a:cubicBezTo>
                  <a:pt x="4775510" y="899584"/>
                  <a:pt x="4770904" y="890372"/>
                  <a:pt x="4766298" y="885767"/>
                </a:cubicBezTo>
                <a:cubicBezTo>
                  <a:pt x="4738664" y="867344"/>
                  <a:pt x="4715635" y="858132"/>
                  <a:pt x="4688002" y="844315"/>
                </a:cubicBezTo>
                <a:cubicBezTo>
                  <a:pt x="4669578" y="830498"/>
                  <a:pt x="4637338" y="802864"/>
                  <a:pt x="4614310" y="789047"/>
                </a:cubicBezTo>
                <a:cubicBezTo>
                  <a:pt x="4605099" y="784440"/>
                  <a:pt x="4600493" y="789047"/>
                  <a:pt x="4591281" y="784440"/>
                </a:cubicBezTo>
                <a:cubicBezTo>
                  <a:pt x="4582069" y="779836"/>
                  <a:pt x="4568253" y="761413"/>
                  <a:pt x="4559041" y="756807"/>
                </a:cubicBezTo>
                <a:cubicBezTo>
                  <a:pt x="4531406" y="738383"/>
                  <a:pt x="4517589" y="738384"/>
                  <a:pt x="4517589" y="729172"/>
                </a:cubicBezTo>
                <a:cubicBezTo>
                  <a:pt x="4499166" y="724567"/>
                  <a:pt x="4471531" y="710750"/>
                  <a:pt x="4462320" y="719962"/>
                </a:cubicBezTo>
                <a:cubicBezTo>
                  <a:pt x="4480744" y="724567"/>
                  <a:pt x="4476138" y="729173"/>
                  <a:pt x="4476137" y="733778"/>
                </a:cubicBezTo>
                <a:cubicBezTo>
                  <a:pt x="4070834" y="494283"/>
                  <a:pt x="3601051" y="356112"/>
                  <a:pt x="3094419" y="356112"/>
                </a:cubicBezTo>
                <a:close/>
                <a:moveTo>
                  <a:pt x="3194685" y="0"/>
                </a:moveTo>
                <a:cubicBezTo>
                  <a:pt x="3253969" y="5737"/>
                  <a:pt x="3313252" y="11474"/>
                  <a:pt x="3374449" y="19122"/>
                </a:cubicBezTo>
                <a:cubicBezTo>
                  <a:pt x="3867844" y="86051"/>
                  <a:pt x="4324902" y="258153"/>
                  <a:pt x="4745625" y="523954"/>
                </a:cubicBezTo>
                <a:cubicBezTo>
                  <a:pt x="4998059" y="682671"/>
                  <a:pt x="5217983" y="879633"/>
                  <a:pt x="5390097" y="1124399"/>
                </a:cubicBezTo>
                <a:cubicBezTo>
                  <a:pt x="5457031" y="1218099"/>
                  <a:pt x="5539263" y="1298413"/>
                  <a:pt x="5604284" y="1394025"/>
                </a:cubicBezTo>
                <a:cubicBezTo>
                  <a:pt x="5632969" y="1439918"/>
                  <a:pt x="5659743" y="1487724"/>
                  <a:pt x="5678867" y="1539355"/>
                </a:cubicBezTo>
                <a:cubicBezTo>
                  <a:pt x="5715202" y="1636879"/>
                  <a:pt x="5763010" y="1728667"/>
                  <a:pt x="5810821" y="1820455"/>
                </a:cubicBezTo>
                <a:cubicBezTo>
                  <a:pt x="5816558" y="1799420"/>
                  <a:pt x="5801259" y="1722930"/>
                  <a:pt x="5785960" y="1688511"/>
                </a:cubicBezTo>
                <a:cubicBezTo>
                  <a:pt x="5831857" y="1715281"/>
                  <a:pt x="5952337" y="2005942"/>
                  <a:pt x="5959987" y="2107291"/>
                </a:cubicBezTo>
                <a:cubicBezTo>
                  <a:pt x="5937038" y="2097729"/>
                  <a:pt x="5923651" y="2078606"/>
                  <a:pt x="5902615" y="2063309"/>
                </a:cubicBezTo>
                <a:cubicBezTo>
                  <a:pt x="5900703" y="2113027"/>
                  <a:pt x="5921739" y="2153185"/>
                  <a:pt x="5937038" y="2193342"/>
                </a:cubicBezTo>
                <a:cubicBezTo>
                  <a:pt x="5940863" y="2200990"/>
                  <a:pt x="5946599" y="2204814"/>
                  <a:pt x="5954249" y="2199078"/>
                </a:cubicBezTo>
                <a:cubicBezTo>
                  <a:pt x="5986759" y="2176132"/>
                  <a:pt x="5994408" y="2200991"/>
                  <a:pt x="6000147" y="2223938"/>
                </a:cubicBezTo>
                <a:cubicBezTo>
                  <a:pt x="6028832" y="2334848"/>
                  <a:pt x="6055605" y="2445757"/>
                  <a:pt x="6076641" y="2558579"/>
                </a:cubicBezTo>
                <a:cubicBezTo>
                  <a:pt x="6095765" y="2654192"/>
                  <a:pt x="6103415" y="2749803"/>
                  <a:pt x="6099590" y="2847329"/>
                </a:cubicBezTo>
                <a:cubicBezTo>
                  <a:pt x="6097678" y="2854978"/>
                  <a:pt x="6097678" y="2862627"/>
                  <a:pt x="6097678" y="2870275"/>
                </a:cubicBezTo>
                <a:cubicBezTo>
                  <a:pt x="6095764" y="2881749"/>
                  <a:pt x="6093853" y="2891310"/>
                  <a:pt x="6080467" y="2893222"/>
                </a:cubicBezTo>
                <a:cubicBezTo>
                  <a:pt x="6065167" y="2895135"/>
                  <a:pt x="6061343" y="2883661"/>
                  <a:pt x="6059431" y="2872188"/>
                </a:cubicBezTo>
                <a:cubicBezTo>
                  <a:pt x="6055605" y="2845416"/>
                  <a:pt x="6053693" y="2818644"/>
                  <a:pt x="6049869" y="2791874"/>
                </a:cubicBezTo>
                <a:cubicBezTo>
                  <a:pt x="6047956" y="2782312"/>
                  <a:pt x="6044131" y="2772751"/>
                  <a:pt x="6038394" y="2763190"/>
                </a:cubicBezTo>
                <a:cubicBezTo>
                  <a:pt x="6025007" y="2795698"/>
                  <a:pt x="6026920" y="2828206"/>
                  <a:pt x="6032657" y="2860714"/>
                </a:cubicBezTo>
                <a:cubicBezTo>
                  <a:pt x="6059431" y="3019429"/>
                  <a:pt x="6074729" y="3180059"/>
                  <a:pt x="6067080" y="3340687"/>
                </a:cubicBezTo>
                <a:cubicBezTo>
                  <a:pt x="6059431" y="3541471"/>
                  <a:pt x="6002059" y="3730784"/>
                  <a:pt x="5937038" y="3920096"/>
                </a:cubicBezTo>
                <a:cubicBezTo>
                  <a:pt x="5824207" y="4245178"/>
                  <a:pt x="5678867" y="4553048"/>
                  <a:pt x="5464680" y="4824587"/>
                </a:cubicBezTo>
                <a:cubicBezTo>
                  <a:pt x="5216071" y="5136282"/>
                  <a:pt x="4915827" y="5382962"/>
                  <a:pt x="4563949" y="5570361"/>
                </a:cubicBezTo>
                <a:cubicBezTo>
                  <a:pt x="4439644" y="5635378"/>
                  <a:pt x="4321078" y="5713780"/>
                  <a:pt x="4183385" y="5752024"/>
                </a:cubicBezTo>
                <a:cubicBezTo>
                  <a:pt x="3831507" y="5847636"/>
                  <a:pt x="3477717" y="5935600"/>
                  <a:pt x="3110540" y="5948985"/>
                </a:cubicBezTo>
                <a:cubicBezTo>
                  <a:pt x="2917390" y="5956634"/>
                  <a:pt x="2726152" y="5937512"/>
                  <a:pt x="2534914" y="5910740"/>
                </a:cubicBezTo>
                <a:cubicBezTo>
                  <a:pt x="2469893" y="5903091"/>
                  <a:pt x="2404872" y="5889706"/>
                  <a:pt x="2339851" y="5878232"/>
                </a:cubicBezTo>
                <a:cubicBezTo>
                  <a:pt x="2313079" y="5872496"/>
                  <a:pt x="2284392" y="5864846"/>
                  <a:pt x="2259531" y="5851461"/>
                </a:cubicBezTo>
                <a:cubicBezTo>
                  <a:pt x="2225108" y="5832339"/>
                  <a:pt x="2186861" y="5824690"/>
                  <a:pt x="2146701" y="5830426"/>
                </a:cubicBezTo>
                <a:cubicBezTo>
                  <a:pt x="2123752" y="5834251"/>
                  <a:pt x="2106540" y="5828514"/>
                  <a:pt x="2096979" y="5805567"/>
                </a:cubicBezTo>
                <a:cubicBezTo>
                  <a:pt x="2085504" y="5778796"/>
                  <a:pt x="2064468" y="5767321"/>
                  <a:pt x="2035784" y="5767322"/>
                </a:cubicBezTo>
                <a:cubicBezTo>
                  <a:pt x="1991798" y="5767322"/>
                  <a:pt x="1951638" y="5752024"/>
                  <a:pt x="1913390" y="5730990"/>
                </a:cubicBezTo>
                <a:cubicBezTo>
                  <a:pt x="1846457" y="5694657"/>
                  <a:pt x="1779524" y="5656412"/>
                  <a:pt x="1710678" y="5623904"/>
                </a:cubicBezTo>
                <a:cubicBezTo>
                  <a:pt x="1509878" y="5530204"/>
                  <a:pt x="1345413" y="5384874"/>
                  <a:pt x="1179037" y="5243368"/>
                </a:cubicBezTo>
                <a:cubicBezTo>
                  <a:pt x="1073855" y="5153493"/>
                  <a:pt x="968674" y="5065529"/>
                  <a:pt x="876880" y="4960356"/>
                </a:cubicBezTo>
                <a:cubicBezTo>
                  <a:pt x="871142" y="4952707"/>
                  <a:pt x="863492" y="4945058"/>
                  <a:pt x="857756" y="4937409"/>
                </a:cubicBezTo>
                <a:cubicBezTo>
                  <a:pt x="846281" y="4924023"/>
                  <a:pt x="852019" y="4910638"/>
                  <a:pt x="863492" y="4901077"/>
                </a:cubicBezTo>
                <a:cubicBezTo>
                  <a:pt x="876880" y="4891515"/>
                  <a:pt x="882617" y="4902989"/>
                  <a:pt x="890267" y="4912550"/>
                </a:cubicBezTo>
                <a:cubicBezTo>
                  <a:pt x="936164" y="4968005"/>
                  <a:pt x="985885" y="5021548"/>
                  <a:pt x="1043257" y="5067442"/>
                </a:cubicBezTo>
                <a:cubicBezTo>
                  <a:pt x="1052819" y="5075091"/>
                  <a:pt x="1062381" y="5084652"/>
                  <a:pt x="1075769" y="5086564"/>
                </a:cubicBezTo>
                <a:cubicBezTo>
                  <a:pt x="1077680" y="5086564"/>
                  <a:pt x="1083417" y="5088476"/>
                  <a:pt x="1083416" y="5086564"/>
                </a:cubicBezTo>
                <a:cubicBezTo>
                  <a:pt x="1087243" y="5082740"/>
                  <a:pt x="1083417" y="5080827"/>
                  <a:pt x="1079592" y="5080827"/>
                </a:cubicBezTo>
                <a:cubicBezTo>
                  <a:pt x="989710" y="4979479"/>
                  <a:pt x="894092" y="4883866"/>
                  <a:pt x="808035" y="4780605"/>
                </a:cubicBezTo>
                <a:cubicBezTo>
                  <a:pt x="781261" y="4748097"/>
                  <a:pt x="756400" y="4715589"/>
                  <a:pt x="727714" y="4683081"/>
                </a:cubicBezTo>
                <a:cubicBezTo>
                  <a:pt x="721976" y="4675432"/>
                  <a:pt x="718153" y="4663959"/>
                  <a:pt x="699029" y="4663959"/>
                </a:cubicBezTo>
                <a:cubicBezTo>
                  <a:pt x="733452" y="4727063"/>
                  <a:pt x="796560" y="4771044"/>
                  <a:pt x="786998" y="4851358"/>
                </a:cubicBezTo>
                <a:cubicBezTo>
                  <a:pt x="591935" y="4629538"/>
                  <a:pt x="444682" y="4382859"/>
                  <a:pt x="341414" y="4105584"/>
                </a:cubicBezTo>
                <a:cubicBezTo>
                  <a:pt x="368186" y="4111321"/>
                  <a:pt x="373924" y="4134267"/>
                  <a:pt x="383486" y="4153390"/>
                </a:cubicBezTo>
                <a:cubicBezTo>
                  <a:pt x="393047" y="4174425"/>
                  <a:pt x="402609" y="4193547"/>
                  <a:pt x="417908" y="4210757"/>
                </a:cubicBezTo>
                <a:cubicBezTo>
                  <a:pt x="440857" y="4266211"/>
                  <a:pt x="467631" y="4319755"/>
                  <a:pt x="502054" y="4365649"/>
                </a:cubicBezTo>
                <a:cubicBezTo>
                  <a:pt x="505878" y="4363737"/>
                  <a:pt x="509704" y="4361824"/>
                  <a:pt x="513529" y="4359912"/>
                </a:cubicBezTo>
                <a:cubicBezTo>
                  <a:pt x="484842" y="4308282"/>
                  <a:pt x="456157" y="4256651"/>
                  <a:pt x="425558" y="4205021"/>
                </a:cubicBezTo>
                <a:cubicBezTo>
                  <a:pt x="343326" y="3994674"/>
                  <a:pt x="261094" y="3784326"/>
                  <a:pt x="213284" y="3562506"/>
                </a:cubicBezTo>
                <a:cubicBezTo>
                  <a:pt x="117665" y="3101657"/>
                  <a:pt x="132963" y="2646543"/>
                  <a:pt x="255357" y="2193342"/>
                </a:cubicBezTo>
                <a:cubicBezTo>
                  <a:pt x="278305" y="2107291"/>
                  <a:pt x="291691" y="2021240"/>
                  <a:pt x="329939" y="1940925"/>
                </a:cubicBezTo>
                <a:cubicBezTo>
                  <a:pt x="333764" y="1933277"/>
                  <a:pt x="333763" y="1923716"/>
                  <a:pt x="345237" y="1921803"/>
                </a:cubicBezTo>
                <a:cubicBezTo>
                  <a:pt x="354799" y="1923716"/>
                  <a:pt x="352888" y="1931364"/>
                  <a:pt x="350976" y="1935188"/>
                </a:cubicBezTo>
                <a:cubicBezTo>
                  <a:pt x="259180" y="2204815"/>
                  <a:pt x="224757" y="2484003"/>
                  <a:pt x="197985" y="2765101"/>
                </a:cubicBezTo>
                <a:cubicBezTo>
                  <a:pt x="182686" y="2912345"/>
                  <a:pt x="197985" y="3059587"/>
                  <a:pt x="205635" y="3206829"/>
                </a:cubicBezTo>
                <a:cubicBezTo>
                  <a:pt x="207547" y="3224040"/>
                  <a:pt x="207546" y="3243163"/>
                  <a:pt x="207547" y="3260373"/>
                </a:cubicBezTo>
                <a:cubicBezTo>
                  <a:pt x="209458" y="3269934"/>
                  <a:pt x="201810" y="3283319"/>
                  <a:pt x="219021" y="3283319"/>
                </a:cubicBezTo>
                <a:cubicBezTo>
                  <a:pt x="236232" y="3283319"/>
                  <a:pt x="234320" y="3271845"/>
                  <a:pt x="234319" y="3258461"/>
                </a:cubicBezTo>
                <a:cubicBezTo>
                  <a:pt x="226670" y="3189620"/>
                  <a:pt x="220934" y="3118867"/>
                  <a:pt x="219021" y="3050026"/>
                </a:cubicBezTo>
                <a:cubicBezTo>
                  <a:pt x="207547" y="2474440"/>
                  <a:pt x="333764" y="1937101"/>
                  <a:pt x="656957" y="1455216"/>
                </a:cubicBezTo>
                <a:cubicBezTo>
                  <a:pt x="658869" y="1451392"/>
                  <a:pt x="660782" y="1445655"/>
                  <a:pt x="664606" y="1443743"/>
                </a:cubicBezTo>
                <a:cubicBezTo>
                  <a:pt x="666518" y="1441832"/>
                  <a:pt x="670343" y="1441831"/>
                  <a:pt x="677992" y="1439918"/>
                </a:cubicBezTo>
                <a:cubicBezTo>
                  <a:pt x="660780" y="1476251"/>
                  <a:pt x="647394" y="1508759"/>
                  <a:pt x="628271" y="1541267"/>
                </a:cubicBezTo>
                <a:cubicBezTo>
                  <a:pt x="486755" y="1784122"/>
                  <a:pt x="404522" y="2051836"/>
                  <a:pt x="320376" y="2319550"/>
                </a:cubicBezTo>
                <a:cubicBezTo>
                  <a:pt x="310816" y="2350145"/>
                  <a:pt x="310816" y="2382654"/>
                  <a:pt x="306992" y="2413250"/>
                </a:cubicBezTo>
                <a:cubicBezTo>
                  <a:pt x="306992" y="2420899"/>
                  <a:pt x="301253" y="2432372"/>
                  <a:pt x="314640" y="2434283"/>
                </a:cubicBezTo>
                <a:cubicBezTo>
                  <a:pt x="324202" y="2436196"/>
                  <a:pt x="329939" y="2428548"/>
                  <a:pt x="335676" y="2420899"/>
                </a:cubicBezTo>
                <a:cubicBezTo>
                  <a:pt x="341413" y="2411337"/>
                  <a:pt x="349062" y="2399863"/>
                  <a:pt x="356712" y="2392215"/>
                </a:cubicBezTo>
                <a:lnTo>
                  <a:pt x="350263" y="2447349"/>
                </a:lnTo>
                <a:lnTo>
                  <a:pt x="364870" y="2370176"/>
                </a:lnTo>
                <a:cubicBezTo>
                  <a:pt x="407674" y="2199598"/>
                  <a:pt x="466786" y="2037350"/>
                  <a:pt x="541943" y="1882854"/>
                </a:cubicBezTo>
                <a:lnTo>
                  <a:pt x="564586" y="1841828"/>
                </a:lnTo>
                <a:lnTo>
                  <a:pt x="591636" y="1777608"/>
                </a:lnTo>
                <a:cubicBezTo>
                  <a:pt x="628151" y="1701298"/>
                  <a:pt x="668430" y="1626362"/>
                  <a:pt x="712415" y="1552740"/>
                </a:cubicBezTo>
                <a:cubicBezTo>
                  <a:pt x="716241" y="1547004"/>
                  <a:pt x="720065" y="1545092"/>
                  <a:pt x="727714" y="1541267"/>
                </a:cubicBezTo>
                <a:lnTo>
                  <a:pt x="682530" y="1633942"/>
                </a:lnTo>
                <a:lnTo>
                  <a:pt x="815288" y="1442050"/>
                </a:lnTo>
                <a:cubicBezTo>
                  <a:pt x="891307" y="1344396"/>
                  <a:pt x="957828" y="1238092"/>
                  <a:pt x="1054385" y="1157035"/>
                </a:cubicBezTo>
                <a:cubicBezTo>
                  <a:pt x="1301922" y="951596"/>
                  <a:pt x="1553790" y="751597"/>
                  <a:pt x="1843678" y="606577"/>
                </a:cubicBezTo>
                <a:lnTo>
                  <a:pt x="1922812" y="569857"/>
                </a:lnTo>
                <a:lnTo>
                  <a:pt x="1943510" y="554072"/>
                </a:lnTo>
                <a:cubicBezTo>
                  <a:pt x="1953550" y="548335"/>
                  <a:pt x="1964068" y="544033"/>
                  <a:pt x="1974586" y="541165"/>
                </a:cubicBezTo>
                <a:cubicBezTo>
                  <a:pt x="2066381" y="509613"/>
                  <a:pt x="2157099" y="469455"/>
                  <a:pt x="2253196" y="444895"/>
                </a:cubicBezTo>
                <a:lnTo>
                  <a:pt x="2279666" y="439914"/>
                </a:lnTo>
                <a:lnTo>
                  <a:pt x="2319798" y="426779"/>
                </a:lnTo>
                <a:lnTo>
                  <a:pt x="2345463" y="419889"/>
                </a:lnTo>
                <a:lnTo>
                  <a:pt x="2342301" y="416361"/>
                </a:lnTo>
                <a:cubicBezTo>
                  <a:pt x="2331723" y="409818"/>
                  <a:pt x="2317381" y="411610"/>
                  <a:pt x="2307340" y="401571"/>
                </a:cubicBezTo>
                <a:cubicBezTo>
                  <a:pt x="2349413" y="380536"/>
                  <a:pt x="2393398" y="370975"/>
                  <a:pt x="2437382" y="363326"/>
                </a:cubicBezTo>
                <a:cubicBezTo>
                  <a:pt x="2741451" y="305959"/>
                  <a:pt x="3045519" y="277274"/>
                  <a:pt x="3353412" y="315520"/>
                </a:cubicBezTo>
                <a:cubicBezTo>
                  <a:pt x="3569511" y="344204"/>
                  <a:pt x="3779874" y="393922"/>
                  <a:pt x="3980673" y="476148"/>
                </a:cubicBezTo>
                <a:cubicBezTo>
                  <a:pt x="4041869" y="501007"/>
                  <a:pt x="4093504" y="541165"/>
                  <a:pt x="4160437" y="550726"/>
                </a:cubicBezTo>
                <a:cubicBezTo>
                  <a:pt x="4177649" y="552638"/>
                  <a:pt x="4198684" y="562198"/>
                  <a:pt x="4204422" y="535427"/>
                </a:cubicBezTo>
                <a:cubicBezTo>
                  <a:pt x="4212071" y="508656"/>
                  <a:pt x="4187211" y="512481"/>
                  <a:pt x="4171911" y="504832"/>
                </a:cubicBezTo>
                <a:cubicBezTo>
                  <a:pt x="4152787" y="499094"/>
                  <a:pt x="4127926" y="495271"/>
                  <a:pt x="4116452" y="468499"/>
                </a:cubicBezTo>
                <a:cubicBezTo>
                  <a:pt x="4236932" y="481885"/>
                  <a:pt x="4338289" y="539252"/>
                  <a:pt x="4441557" y="585145"/>
                </a:cubicBezTo>
                <a:cubicBezTo>
                  <a:pt x="4502753" y="617653"/>
                  <a:pt x="4554387" y="663548"/>
                  <a:pt x="4619408" y="688407"/>
                </a:cubicBezTo>
                <a:cubicBezTo>
                  <a:pt x="4569686" y="640601"/>
                  <a:pt x="4510403" y="611918"/>
                  <a:pt x="4451119" y="577496"/>
                </a:cubicBezTo>
                <a:cubicBezTo>
                  <a:pt x="4372711" y="523954"/>
                  <a:pt x="4282829" y="489534"/>
                  <a:pt x="4192947" y="455114"/>
                </a:cubicBezTo>
                <a:cubicBezTo>
                  <a:pt x="3948163" y="361414"/>
                  <a:pt x="3697641" y="284924"/>
                  <a:pt x="3437557" y="242855"/>
                </a:cubicBezTo>
                <a:cubicBezTo>
                  <a:pt x="3405047" y="239030"/>
                  <a:pt x="3370624" y="229468"/>
                  <a:pt x="3336201" y="235206"/>
                </a:cubicBezTo>
                <a:cubicBezTo>
                  <a:pt x="3336202" y="256241"/>
                  <a:pt x="3353413" y="252416"/>
                  <a:pt x="3364887" y="254328"/>
                </a:cubicBezTo>
                <a:cubicBezTo>
                  <a:pt x="3584811" y="284923"/>
                  <a:pt x="3800909" y="336555"/>
                  <a:pt x="4011271" y="414957"/>
                </a:cubicBezTo>
                <a:cubicBezTo>
                  <a:pt x="4022745" y="418781"/>
                  <a:pt x="4045694" y="416869"/>
                  <a:pt x="4039957" y="435991"/>
                </a:cubicBezTo>
                <a:cubicBezTo>
                  <a:pt x="4034220" y="455114"/>
                  <a:pt x="4013184" y="449377"/>
                  <a:pt x="3999798" y="443640"/>
                </a:cubicBezTo>
                <a:cubicBezTo>
                  <a:pt x="3932864" y="420693"/>
                  <a:pt x="3867843" y="390097"/>
                  <a:pt x="3797085" y="372886"/>
                </a:cubicBezTo>
                <a:cubicBezTo>
                  <a:pt x="3491104" y="300222"/>
                  <a:pt x="3183211" y="246679"/>
                  <a:pt x="2867668" y="271538"/>
                </a:cubicBezTo>
                <a:cubicBezTo>
                  <a:pt x="2622883" y="290660"/>
                  <a:pt x="2383836" y="346116"/>
                  <a:pt x="2150525" y="420693"/>
                </a:cubicBezTo>
                <a:cubicBezTo>
                  <a:pt x="2102716" y="435991"/>
                  <a:pt x="2052994" y="451289"/>
                  <a:pt x="2003272" y="458938"/>
                </a:cubicBezTo>
                <a:cubicBezTo>
                  <a:pt x="2358975" y="304046"/>
                  <a:pt x="2733801" y="225645"/>
                  <a:pt x="3127752" y="227557"/>
                </a:cubicBezTo>
                <a:cubicBezTo>
                  <a:pt x="3114365" y="204610"/>
                  <a:pt x="3091416" y="214171"/>
                  <a:pt x="3066554" y="198873"/>
                </a:cubicBezTo>
                <a:cubicBezTo>
                  <a:pt x="3135401" y="198873"/>
                  <a:pt x="3194685" y="198872"/>
                  <a:pt x="3252056" y="204609"/>
                </a:cubicBezTo>
                <a:cubicBezTo>
                  <a:pt x="3338114" y="214171"/>
                  <a:pt x="3424170" y="225645"/>
                  <a:pt x="3512140" y="233294"/>
                </a:cubicBezTo>
                <a:cubicBezTo>
                  <a:pt x="3517877" y="235206"/>
                  <a:pt x="3531264" y="242855"/>
                  <a:pt x="3533176" y="229469"/>
                </a:cubicBezTo>
                <a:cubicBezTo>
                  <a:pt x="3537001" y="217995"/>
                  <a:pt x="3523614" y="217996"/>
                  <a:pt x="3515965" y="216083"/>
                </a:cubicBezTo>
                <a:cubicBezTo>
                  <a:pt x="3408871" y="195049"/>
                  <a:pt x="3305603" y="166365"/>
                  <a:pt x="3194685" y="175926"/>
                </a:cubicBezTo>
                <a:cubicBezTo>
                  <a:pt x="3169824" y="179751"/>
                  <a:pt x="3143051" y="166365"/>
                  <a:pt x="3116277" y="162541"/>
                </a:cubicBezTo>
                <a:cubicBezTo>
                  <a:pt x="3005359" y="143418"/>
                  <a:pt x="2896354" y="166365"/>
                  <a:pt x="2785435" y="177838"/>
                </a:cubicBezTo>
                <a:cubicBezTo>
                  <a:pt x="2538738" y="206522"/>
                  <a:pt x="2297779" y="256241"/>
                  <a:pt x="2062556" y="332730"/>
                </a:cubicBezTo>
                <a:cubicBezTo>
                  <a:pt x="1915303" y="378624"/>
                  <a:pt x="1781436" y="457026"/>
                  <a:pt x="1639921" y="520130"/>
                </a:cubicBezTo>
                <a:cubicBezTo>
                  <a:pt x="1628446" y="523954"/>
                  <a:pt x="1615059" y="529691"/>
                  <a:pt x="1597847" y="537339"/>
                </a:cubicBezTo>
                <a:cubicBezTo>
                  <a:pt x="1605497" y="504832"/>
                  <a:pt x="1624621" y="483797"/>
                  <a:pt x="1649482" y="476148"/>
                </a:cubicBezTo>
                <a:cubicBezTo>
                  <a:pt x="1771874" y="439816"/>
                  <a:pt x="1878968" y="367151"/>
                  <a:pt x="1997535" y="321257"/>
                </a:cubicBezTo>
                <a:cubicBezTo>
                  <a:pt x="2378099" y="177839"/>
                  <a:pt x="2770136" y="112822"/>
                  <a:pt x="3177473" y="133856"/>
                </a:cubicBezTo>
                <a:cubicBezTo>
                  <a:pt x="3345763" y="143418"/>
                  <a:pt x="3506403" y="185488"/>
                  <a:pt x="3670868" y="216083"/>
                </a:cubicBezTo>
                <a:cubicBezTo>
                  <a:pt x="3881229" y="252416"/>
                  <a:pt x="4082029" y="315520"/>
                  <a:pt x="4267530" y="418781"/>
                </a:cubicBezTo>
                <a:cubicBezTo>
                  <a:pt x="4284742" y="428341"/>
                  <a:pt x="4303865" y="432167"/>
                  <a:pt x="4301953" y="458938"/>
                </a:cubicBezTo>
                <a:cubicBezTo>
                  <a:pt x="4300041" y="466587"/>
                  <a:pt x="4307691" y="472324"/>
                  <a:pt x="4315340" y="474236"/>
                </a:cubicBezTo>
                <a:cubicBezTo>
                  <a:pt x="4431995" y="527779"/>
                  <a:pt x="4542913" y="592794"/>
                  <a:pt x="4651919" y="663548"/>
                </a:cubicBezTo>
                <a:cubicBezTo>
                  <a:pt x="4653831" y="665459"/>
                  <a:pt x="4657656" y="665460"/>
                  <a:pt x="4663393" y="665460"/>
                </a:cubicBezTo>
                <a:cubicBezTo>
                  <a:pt x="4672955" y="640601"/>
                  <a:pt x="4667218" y="625303"/>
                  <a:pt x="4642357" y="610005"/>
                </a:cubicBezTo>
                <a:cubicBezTo>
                  <a:pt x="4474067" y="502920"/>
                  <a:pt x="4307690" y="392010"/>
                  <a:pt x="4124102" y="311696"/>
                </a:cubicBezTo>
                <a:cubicBezTo>
                  <a:pt x="3823858" y="181663"/>
                  <a:pt x="3510228" y="110910"/>
                  <a:pt x="3183211" y="103261"/>
                </a:cubicBezTo>
                <a:cubicBezTo>
                  <a:pt x="2999621" y="99437"/>
                  <a:pt x="2816034" y="95612"/>
                  <a:pt x="2634357" y="124296"/>
                </a:cubicBezTo>
                <a:cubicBezTo>
                  <a:pt x="2563599" y="137682"/>
                  <a:pt x="2490929" y="128120"/>
                  <a:pt x="2420171" y="128119"/>
                </a:cubicBezTo>
                <a:cubicBezTo>
                  <a:pt x="2651569" y="86051"/>
                  <a:pt x="2884879" y="61192"/>
                  <a:pt x="3120102" y="61192"/>
                </a:cubicBezTo>
                <a:cubicBezTo>
                  <a:pt x="3357237" y="63104"/>
                  <a:pt x="3588635" y="91788"/>
                  <a:pt x="3818121" y="154892"/>
                </a:cubicBezTo>
                <a:cubicBezTo>
                  <a:pt x="3615408" y="84139"/>
                  <a:pt x="3401222" y="53543"/>
                  <a:pt x="3192772" y="9561"/>
                </a:cubicBezTo>
                <a:cubicBezTo>
                  <a:pt x="3192772" y="5737"/>
                  <a:pt x="3194685" y="1912"/>
                  <a:pt x="319468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/>
              <a:t>Place Your Picture Here And Send To Back</a:t>
            </a:r>
            <a:endParaRPr lang="ko-KR" altLang="en-US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E539B237-847B-768D-6F55-29D9BD67C3F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70484" y="6528324"/>
            <a:ext cx="2743200" cy="365125"/>
          </a:xfrm>
        </p:spPr>
        <p:txBody>
          <a:bodyPr/>
          <a:lstStyle/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30147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ank you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440" y="1973908"/>
            <a:ext cx="3571540" cy="2910185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lnSpc>
                <a:spcPct val="90000"/>
              </a:lnSpc>
              <a:defRPr sz="48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3998" y="6356351"/>
            <a:ext cx="2844800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Рисунок 9">
            <a:extLst>
              <a:ext uri="{FF2B5EF4-FFF2-40B4-BE49-F238E27FC236}">
                <a16:creationId xmlns:a16="http://schemas.microsoft.com/office/drawing/2014/main" id="{156DB6BA-282A-9A43-8BFA-F361E4AFB47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715595" y="6356350"/>
            <a:ext cx="2196582" cy="385930"/>
          </a:xfrm>
        </p:spPr>
        <p:txBody>
          <a:bodyPr anchor="ctr">
            <a:normAutofit/>
          </a:bodyPr>
          <a:lstStyle>
            <a:lvl1pPr algn="ctr">
              <a:buNone/>
              <a:defRPr sz="1800"/>
            </a:lvl1pPr>
          </a:lstStyle>
          <a:p>
            <a:r>
              <a:rPr lang="en-US"/>
              <a:t>Logo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518B81D7-3C0A-C54D-BF08-F9274F7B8580}"/>
              </a:ext>
            </a:extLst>
          </p:cNvPr>
          <p:cNvSpPr/>
          <p:nvPr/>
        </p:nvSpPr>
        <p:spPr>
          <a:xfrm flipH="1">
            <a:off x="4803648" y="1492"/>
            <a:ext cx="3571540" cy="6856504"/>
          </a:xfrm>
          <a:custGeom>
            <a:avLst/>
            <a:gdLst>
              <a:gd name="connsiteX0" fmla="*/ 4977284 w 5158977"/>
              <a:gd name="connsiteY0" fmla="*/ 3841859 h 9906583"/>
              <a:gd name="connsiteX1" fmla="*/ 3546234 w 5158977"/>
              <a:gd name="connsiteY1" fmla="*/ 0 h 9906583"/>
              <a:gd name="connsiteX2" fmla="*/ 1697343 w 5158977"/>
              <a:gd name="connsiteY2" fmla="*/ 0 h 9906583"/>
              <a:gd name="connsiteX3" fmla="*/ 3353550 w 5158977"/>
              <a:gd name="connsiteY3" fmla="*/ 4447898 h 9906583"/>
              <a:gd name="connsiteX4" fmla="*/ 3206332 w 5158977"/>
              <a:gd name="connsiteY4" fmla="*/ 5517125 h 9906583"/>
              <a:gd name="connsiteX5" fmla="*/ 0 w 5158977"/>
              <a:gd name="connsiteY5" fmla="*/ 9906584 h 9906583"/>
              <a:gd name="connsiteX6" fmla="*/ 2145493 w 5158977"/>
              <a:gd name="connsiteY6" fmla="*/ 9906584 h 9906583"/>
              <a:gd name="connsiteX7" fmla="*/ 4607073 w 5158977"/>
              <a:gd name="connsiteY7" fmla="*/ 6538735 h 9906583"/>
              <a:gd name="connsiteX8" fmla="*/ 4977284 w 5158977"/>
              <a:gd name="connsiteY8" fmla="*/ 3841859 h 990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158977" h="9906583">
                <a:moveTo>
                  <a:pt x="4977284" y="3841859"/>
                </a:moveTo>
                <a:lnTo>
                  <a:pt x="3546234" y="0"/>
                </a:lnTo>
                <a:lnTo>
                  <a:pt x="1697343" y="0"/>
                </a:lnTo>
                <a:lnTo>
                  <a:pt x="3353550" y="4447898"/>
                </a:lnTo>
                <a:cubicBezTo>
                  <a:pt x="3487779" y="4807193"/>
                  <a:pt x="3431490" y="5207612"/>
                  <a:pt x="3206332" y="5517125"/>
                </a:cubicBezTo>
                <a:lnTo>
                  <a:pt x="0" y="9906584"/>
                </a:lnTo>
                <a:lnTo>
                  <a:pt x="2145493" y="9906584"/>
                </a:lnTo>
                <a:lnTo>
                  <a:pt x="4607073" y="6538735"/>
                </a:lnTo>
                <a:cubicBezTo>
                  <a:pt x="5176462" y="5757377"/>
                  <a:pt x="5315021" y="4748754"/>
                  <a:pt x="4977284" y="3841859"/>
                </a:cubicBezTo>
                <a:close/>
              </a:path>
            </a:pathLst>
          </a:custGeom>
          <a:solidFill>
            <a:schemeClr val="accent1"/>
          </a:solidFill>
          <a:ln w="2163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80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642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text &amp;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56117" y="819150"/>
            <a:ext cx="11641667" cy="55245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4">
            <a:extLst>
              <a:ext uri="{FF2B5EF4-FFF2-40B4-BE49-F238E27FC236}">
                <a16:creationId xmlns:a16="http://schemas.microsoft.com/office/drawing/2014/main" id="{8AA04D1C-FE82-19BD-A8DF-FA31ED68F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70484" y="6528324"/>
            <a:ext cx="2743200" cy="365125"/>
          </a:xfrm>
        </p:spPr>
        <p:txBody>
          <a:bodyPr/>
          <a:lstStyle/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800113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BA7484-EB19-420B-890E-21F59C5414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9264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BA7484-EB19-420B-890E-21F59C541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849920" y="6578601"/>
            <a:ext cx="10342080" cy="284163"/>
          </a:xfrm>
          <a:prstGeom prst="rect">
            <a:avLst/>
          </a:prstGeom>
          <a:solidFill>
            <a:srgbClr val="00663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0" y="6578601"/>
            <a:ext cx="1849920" cy="284163"/>
          </a:xfrm>
          <a:prstGeom prst="rect">
            <a:avLst/>
          </a:prstGeom>
          <a:solidFill>
            <a:srgbClr val="3A901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1139" y="-38100"/>
            <a:ext cx="11633054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1588593" y="6605588"/>
            <a:ext cx="603407" cy="2413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fontAlgn="auto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Font typeface="Arial" charset="0"/>
              <a:buNone/>
              <a:defRPr/>
            </a:pPr>
            <a:fld id="{964C6B53-FBBF-5547-9B59-8D6BF7FA2888}" type="slidenum">
              <a:rPr lang="en-US" sz="900">
                <a:solidFill>
                  <a:srgbClr val="FFFFFF"/>
                </a:solidFill>
                <a:latin typeface="Franklin Gothic Book" charset="0"/>
                <a:cs typeface="Arial" charset="0"/>
              </a:rPr>
              <a:pPr algn="ctr" eaLnBrk="1" fontAlgn="auto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Font typeface="Arial" charset="0"/>
                <a:buNone/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Franklin Gothic Book" charset="0"/>
              <a:cs typeface="Arial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 flipH="1" flipV="1">
            <a:off x="1" y="787401"/>
            <a:ext cx="12192000" cy="28575"/>
          </a:xfrm>
          <a:prstGeom prst="rect">
            <a:avLst/>
          </a:prstGeom>
          <a:solidFill>
            <a:schemeClr val="accent5"/>
          </a:solidFill>
          <a:ln>
            <a:solidFill>
              <a:srgbClr val="3A901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864" y="6596064"/>
            <a:ext cx="1753056" cy="238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2022 FOA APPLICATION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1139" y="1047751"/>
            <a:ext cx="1097248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6238646-0AA3-2A98-985B-5EC240CF0908}"/>
              </a:ext>
            </a:extLst>
          </p:cNvPr>
          <p:cNvSpPr txBox="1"/>
          <p:nvPr userDrawn="1"/>
        </p:nvSpPr>
        <p:spPr>
          <a:xfrm>
            <a:off x="1849920" y="6596064"/>
            <a:ext cx="6594604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RENEW AMERICA’S SCHOOL FOA (DE-FOA-0002756) </a:t>
            </a:r>
          </a:p>
        </p:txBody>
      </p:sp>
    </p:spTree>
    <p:extLst>
      <p:ext uri="{BB962C8B-B14F-4D97-AF65-F5344CB8AC3E}">
        <p14:creationId xmlns:p14="http://schemas.microsoft.com/office/powerpoint/2010/main" val="1918753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007934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+mj-lt"/>
          <a:ea typeface="ヒラギノ角ゴ Pro W3" charset="0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+mn-lt"/>
          <a:ea typeface="ヒラギノ角ゴ Pro W3" charset="0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+mn-lt"/>
          <a:ea typeface="ヒラギノ角ゴ Pro W3" charset="0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+mn-lt"/>
          <a:ea typeface="ヒラギノ角ゴ Pro W3" charset="0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+mn-lt"/>
          <a:ea typeface="ヒラギノ角ゴ Pro W3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421467" y="6578601"/>
            <a:ext cx="9770533" cy="284163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 flipH="1">
            <a:off x="1" y="6578601"/>
            <a:ext cx="2434167" cy="284163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80484" y="-38100"/>
            <a:ext cx="11633200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368" y="6596064"/>
            <a:ext cx="6593417" cy="238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50">
                <a:solidFill>
                  <a:schemeClr val="bg1"/>
                </a:solidFill>
                <a:latin typeface="+mj-lt"/>
                <a:ea typeface="ＭＳ Ｐゴシック" pitchFamily="-106" charset="-128"/>
                <a:cs typeface="ＭＳ Ｐゴシック" pitchFamily="-106" charset="-128"/>
              </a:rPr>
              <a:t>U.S. DEPARTMENT OF ENERGY                         OFFICE OF STATE &amp; COMMUNITY ENERGY PROGRAMS</a:t>
            </a:r>
          </a:p>
        </p:txBody>
      </p:sp>
      <p:sp>
        <p:nvSpPr>
          <p:cNvPr id="1032" name="Text Placeholder 8"/>
          <p:cNvSpPr>
            <a:spLocks noGrp="1"/>
          </p:cNvSpPr>
          <p:nvPr>
            <p:ph type="body" idx="1"/>
          </p:nvPr>
        </p:nvSpPr>
        <p:spPr bwMode="auto">
          <a:xfrm>
            <a:off x="480484" y="104775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57C79B2-0060-1F22-8848-6D6D1D3E8DF7}"/>
              </a:ext>
            </a:extLst>
          </p:cNvPr>
          <p:cNvCxnSpPr/>
          <p:nvPr/>
        </p:nvCxnSpPr>
        <p:spPr>
          <a:xfrm>
            <a:off x="0" y="821778"/>
            <a:ext cx="12192000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B23F75-AC49-EACE-7312-2CD262B2E4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70484" y="65283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0154BB7-116B-42F9-82BE-AA33A339DB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538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10" r:id="rId5"/>
    <p:sldLayoutId id="2147483711" r:id="rId6"/>
    <p:sldLayoutId id="2147483714" r:id="rId7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US" sz="3300" b="1" kern="1200" dirty="0">
          <a:solidFill>
            <a:srgbClr val="2A5998"/>
          </a:solidFill>
          <a:latin typeface="Avenir LT Std 45 Book"/>
          <a:ea typeface="Avenir LT Std 45 Book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300" b="1">
          <a:solidFill>
            <a:srgbClr val="007934"/>
          </a:solidFill>
          <a:latin typeface="Franklin Gothic Medium" charset="0"/>
          <a:ea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rgbClr val="282B2E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rgbClr val="282B2E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rgbClr val="282B2E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282B2E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rgbClr val="282B2E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26F2D1-6B55-1ABE-6F34-232D31A434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0070DB-13FE-0E95-18F5-9FBE4CEF95A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77615" y="1046532"/>
            <a:ext cx="4863177" cy="5370703"/>
          </a:xfrm>
        </p:spPr>
        <p:txBody>
          <a:bodyPr/>
          <a:lstStyle/>
          <a:p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098EED-AB67-1F63-5A6B-C14ADDD86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am Na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AB733C-4206-E89D-7C54-1952FB90C9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0154BB7-116B-42F9-82BE-AA33A339DBE5}" type="slidenum">
              <a:rPr lang="en-US" smtClean="0"/>
              <a:t>1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D6A7447-7F92-7A83-E3E9-1913ABBB139A}"/>
              </a:ext>
            </a:extLst>
          </p:cNvPr>
          <p:cNvSpPr txBox="1">
            <a:spLocks/>
          </p:cNvSpPr>
          <p:nvPr/>
        </p:nvSpPr>
        <p:spPr bwMode="auto">
          <a:xfrm>
            <a:off x="281980" y="897334"/>
            <a:ext cx="6599376" cy="54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rgbClr val="282B2E"/>
                </a:solidFill>
                <a:latin typeface="+mj-lt"/>
                <a:ea typeface="ヒラギノ角ゴ Pro W3" charset="0"/>
                <a:cs typeface="Arial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rgbClr val="282B2E"/>
                </a:solidFill>
                <a:latin typeface="+mn-lt"/>
                <a:ea typeface="ヒラギノ角ゴ Pro W3" charset="0"/>
                <a:cs typeface="Arial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rgbClr val="282B2E"/>
                </a:solidFill>
                <a:latin typeface="+mn-lt"/>
                <a:ea typeface="ヒラギノ角ゴ Pro W3" charset="0"/>
                <a:cs typeface="Arial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rgbClr val="282B2E"/>
                </a:solidFill>
                <a:latin typeface="+mn-lt"/>
                <a:ea typeface="ヒラギノ角ゴ Pro W3" charset="0"/>
                <a:cs typeface="Arial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rgbClr val="282B2E"/>
                </a:solidFill>
                <a:latin typeface="+mn-lt"/>
                <a:ea typeface="ヒラギノ角ゴ Pro W3" charset="0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mission </a:t>
            </a:r>
            <a:r>
              <a:rPr lang="en-US" sz="2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Entry Title</a:t>
            </a:r>
            <a:endParaRPr lang="en-US" sz="2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00050" lvl="1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Description</a:t>
            </a:r>
          </a:p>
          <a:p>
            <a:pPr marL="400050" lvl="1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i="1" dirty="0">
                <a:solidFill>
                  <a:schemeClr val="tx1"/>
                </a:solidFill>
                <a:latin typeface="Calibri Light"/>
                <a:ea typeface="Calibri" panose="020F0502020204030204" pitchFamily="34" charset="0"/>
                <a:cs typeface="Calibri Light"/>
              </a:rPr>
              <a:t>Provide</a:t>
            </a:r>
            <a:r>
              <a:rPr lang="en-US" sz="2000" i="1" dirty="0">
                <a:solidFill>
                  <a:schemeClr val="tx1"/>
                </a:solidFill>
                <a:effectLst/>
                <a:latin typeface="Calibri Light"/>
                <a:ea typeface="Calibri" panose="020F0502020204030204" pitchFamily="34" charset="0"/>
                <a:cs typeface="Calibri Light"/>
              </a:rPr>
              <a:t> a short description of the </a:t>
            </a:r>
            <a:r>
              <a:rPr lang="en-US" sz="2000" i="1" dirty="0">
                <a:solidFill>
                  <a:schemeClr val="tx1"/>
                </a:solidFill>
                <a:latin typeface="Calibri Light"/>
                <a:ea typeface="Calibri" panose="020F0502020204030204" pitchFamily="34" charset="0"/>
                <a:cs typeface="Calibri Light"/>
              </a:rPr>
              <a:t>portfolio of schools identified, the project team, and the proposed plan. </a:t>
            </a:r>
            <a:endParaRPr lang="en-US" sz="2000" i="1" dirty="0">
              <a:solidFill>
                <a:schemeClr val="tx1"/>
              </a:solidFill>
              <a:latin typeface="Calibri Light" panose="020F0302020204030204" pitchFamily="34" charset="0"/>
              <a:ea typeface="Calibri" panose="020F0502020204030204" pitchFamily="34" charset="0"/>
              <a:cs typeface="Calibri Light" panose="020F0302020204030204" pitchFamily="34" charset="0"/>
            </a:endParaRPr>
          </a:p>
          <a:p>
            <a:pPr marL="400050" lvl="1" indent="0">
              <a:spcBef>
                <a:spcPts val="0"/>
              </a:spcBef>
              <a:spcAft>
                <a:spcPts val="1200"/>
              </a:spcAft>
              <a:buNone/>
            </a:pPr>
            <a:endParaRPr lang="en-US" sz="20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400050" lvl="1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b="1" dirty="0">
                <a:solidFill>
                  <a:schemeClr val="tx1"/>
                </a:solidFill>
                <a:latin typeface="Calibri"/>
                <a:cs typeface="Calibri"/>
              </a:rPr>
              <a:t>Summary of Need (Community, Facility)</a:t>
            </a:r>
            <a:endParaRPr lang="en-US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400050" lvl="1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en-US" sz="2000" i="1" dirty="0">
                <a:solidFill>
                  <a:schemeClr val="tx1"/>
                </a:solidFill>
                <a:latin typeface="Calibri Light"/>
                <a:ea typeface="Calibri" panose="020F0502020204030204" pitchFamily="34" charset="0"/>
                <a:cs typeface="Calibri Light"/>
              </a:rPr>
              <a:t>Provide</a:t>
            </a:r>
            <a:r>
              <a:rPr lang="en-US" sz="2000" i="1" dirty="0">
                <a:solidFill>
                  <a:schemeClr val="tx1"/>
                </a:solidFill>
                <a:effectLst/>
                <a:latin typeface="Calibri Light"/>
                <a:ea typeface="Calibri" panose="020F0502020204030204" pitchFamily="34" charset="0"/>
                <a:cs typeface="Calibri Light"/>
              </a:rPr>
              <a:t> a short summary of </a:t>
            </a:r>
            <a:r>
              <a:rPr lang="en-US" sz="2000" i="1" dirty="0">
                <a:solidFill>
                  <a:schemeClr val="tx1"/>
                </a:solidFill>
                <a:latin typeface="Calibri Light"/>
                <a:ea typeface="Calibri" panose="020F0502020204030204" pitchFamily="34" charset="0"/>
                <a:cs typeface="Calibri Light"/>
              </a:rPr>
              <a:t>need and motivation for applying for this funding opportunity.</a:t>
            </a:r>
            <a:endParaRPr lang="en-US" sz="2000" i="1" dirty="0">
              <a:solidFill>
                <a:schemeClr val="tx1"/>
              </a:solidFill>
              <a:effectLst/>
              <a:latin typeface="Calibri Light"/>
              <a:ea typeface="Calibri" panose="020F0502020204030204" pitchFamily="34" charset="0"/>
              <a:cs typeface="Calibri Ligh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220870-1FDC-9E06-E7E7-908D03FE6A3F}"/>
              </a:ext>
            </a:extLst>
          </p:cNvPr>
          <p:cNvSpPr txBox="1"/>
          <p:nvPr/>
        </p:nvSpPr>
        <p:spPr>
          <a:xfrm>
            <a:off x="6879277" y="1373924"/>
            <a:ext cx="5321507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400050" lvl="1">
              <a:spcAft>
                <a:spcPts val="1200"/>
              </a:spcAft>
            </a:pPr>
            <a:r>
              <a:rPr lang="en-US" sz="2000" b="1" dirty="0">
                <a:latin typeface="Calibri"/>
                <a:cs typeface="Calibri"/>
              </a:rPr>
              <a:t>Project Goals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00050" lvl="1">
              <a:spcAft>
                <a:spcPts val="1200"/>
              </a:spcAft>
            </a:pPr>
            <a:r>
              <a:rPr lang="en-US" sz="2000" i="1" dirty="0">
                <a:latin typeface="Calibri Light"/>
                <a:cs typeface="Calibri Light"/>
              </a:rPr>
              <a:t>Summarize the project goals. This may include impacts to students, schools, and anticipated community benefits.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F8F8E9-F912-426B-548B-F67454CC46AC}"/>
              </a:ext>
            </a:extLst>
          </p:cNvPr>
          <p:cNvSpPr txBox="1"/>
          <p:nvPr/>
        </p:nvSpPr>
        <p:spPr>
          <a:xfrm>
            <a:off x="8531442" y="199023"/>
            <a:ext cx="3582752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r">
              <a:defRPr/>
            </a:pPr>
            <a:r>
              <a:rPr lang="en-US" sz="1600" dirty="0">
                <a:latin typeface="+mj-lt"/>
                <a:ea typeface="ＭＳ Ｐゴシック"/>
              </a:rPr>
              <a:t>2024 Renew America's Schools Prize</a:t>
            </a:r>
            <a:endParaRPr lang="en-US" sz="1600" dirty="0">
              <a:latin typeface="Franklin Gothic Book"/>
              <a:ea typeface="ＭＳ Ｐゴシック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EA18188E-1870-10D1-3288-BE05819D0DA4}"/>
              </a:ext>
            </a:extLst>
          </p:cNvPr>
          <p:cNvSpPr/>
          <p:nvPr/>
        </p:nvSpPr>
        <p:spPr>
          <a:xfrm>
            <a:off x="7754871" y="3429000"/>
            <a:ext cx="4213168" cy="294952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/>
              <a:t>Insert Key Graphics (illustrations, charts, and/or tables)</a:t>
            </a:r>
          </a:p>
        </p:txBody>
      </p:sp>
    </p:spTree>
    <p:extLst>
      <p:ext uri="{BB962C8B-B14F-4D97-AF65-F5344CB8AC3E}">
        <p14:creationId xmlns:p14="http://schemas.microsoft.com/office/powerpoint/2010/main" val="2993845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ERE PPT_widescreen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5" id="{C1FE4158-618C-1F44-BFD8-3A93CE1563E2}" vid="{D23018C5-22F4-B340-ACB6-ECEA4A3621B3}"/>
    </a:ext>
  </a:extLst>
</a:theme>
</file>

<file path=ppt/theme/theme2.xml><?xml version="1.0" encoding="utf-8"?>
<a:theme xmlns:a="http://schemas.openxmlformats.org/drawingml/2006/main" name="1_EERE PPT">
  <a:themeElements>
    <a:clrScheme name="EERE 2017">
      <a:dk1>
        <a:srgbClr val="000000"/>
      </a:dk1>
      <a:lt1>
        <a:sysClr val="window" lastClr="FFFFFF"/>
      </a:lt1>
      <a:dk2>
        <a:srgbClr val="5E6A7B"/>
      </a:dk2>
      <a:lt2>
        <a:srgbClr val="EEECE1"/>
      </a:lt2>
      <a:accent1>
        <a:srgbClr val="6ABC45"/>
      </a:accent1>
      <a:accent2>
        <a:srgbClr val="FFCB06"/>
      </a:accent2>
      <a:accent3>
        <a:srgbClr val="00A8DF"/>
      </a:accent3>
      <a:accent4>
        <a:srgbClr val="005C82"/>
      </a:accent4>
      <a:accent5>
        <a:srgbClr val="017A3E"/>
      </a:accent5>
      <a:accent6>
        <a:srgbClr val="E27225"/>
      </a:accent6>
      <a:hlink>
        <a:srgbClr val="017A3E"/>
      </a:hlink>
      <a:folHlink>
        <a:srgbClr val="5E6A71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华文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2469AC3D-5C34-4392-B335-E53A3517DF50}" vid="{3FC97CF3-3494-4B5E-BE19-F00E8719D46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515d3c9-75a5-4f7a-ba52-2913a0b31a50" xsi:nil="true"/>
    <lcf76f155ced4ddcb4097134ff3c332f xmlns="1c5ceac5-d2f6-499e-834f-fc1385841e5d">
      <Terms xmlns="http://schemas.microsoft.com/office/infopath/2007/PartnerControls"/>
    </lcf76f155ced4ddcb4097134ff3c332f>
    <Image xmlns="1c5ceac5-d2f6-499e-834f-fc1385841e5d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CF907BDE7AA548A594F918714AF44E" ma:contentTypeVersion="14" ma:contentTypeDescription="Create a new document." ma:contentTypeScope="" ma:versionID="29ac3adc759549b95b40919e552bdcb2">
  <xsd:schema xmlns:xsd="http://www.w3.org/2001/XMLSchema" xmlns:xs="http://www.w3.org/2001/XMLSchema" xmlns:p="http://schemas.microsoft.com/office/2006/metadata/properties" xmlns:ns2="1c5ceac5-d2f6-499e-834f-fc1385841e5d" xmlns:ns3="6515d3c9-75a5-4f7a-ba52-2913a0b31a50" targetNamespace="http://schemas.microsoft.com/office/2006/metadata/properties" ma:root="true" ma:fieldsID="07636d83e786d9f9005d0c9de466e34b" ns2:_="" ns3:_="">
    <xsd:import namespace="1c5ceac5-d2f6-499e-834f-fc1385841e5d"/>
    <xsd:import namespace="6515d3c9-75a5-4f7a-ba52-2913a0b31a5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Imag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5ceac5-d2f6-499e-834f-fc1385841e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834da80-57da-4863-8816-2e6886d1e8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Image" ma:index="18" nillable="true" ma:displayName="Image" ma:format="Thumbnail" ma:internalName="Image">
      <xsd:simpleType>
        <xsd:restriction base="dms:Unknown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515d3c9-75a5-4f7a-ba52-2913a0b31a5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be1026f-e6e1-4011-89f7-0b529d7751e3}" ma:internalName="TaxCatchAll" ma:showField="CatchAllData" ma:web="6515d3c9-75a5-4f7a-ba52-2913a0b31a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2E1340-7554-4736-A0F7-15A39BF87C3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69AE2E-2094-42CE-8A9D-0DE1D9E10727}">
  <ds:schemaRefs>
    <ds:schemaRef ds:uri="95b5a482-699d-4954-a489-fd9c62fafdd5"/>
    <ds:schemaRef ds:uri="a3d57f08-c08e-4bd5-9a84-808d282169b0"/>
    <ds:schemaRef ds:uri="b83ec705-2512-49fe-82d4-ca398a816f58"/>
    <ds:schemaRef ds:uri="df79117a-6340-41dd-9ad0-ba6a27a7ccf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6515d3c9-75a5-4f7a-ba52-2913a0b31a50"/>
    <ds:schemaRef ds:uri="1c5ceac5-d2f6-499e-834f-fc1385841e5d"/>
  </ds:schemaRefs>
</ds:datastoreItem>
</file>

<file path=customXml/itemProps3.xml><?xml version="1.0" encoding="utf-8"?>
<ds:datastoreItem xmlns:ds="http://schemas.openxmlformats.org/officeDocument/2006/customXml" ds:itemID="{B6DF1671-2372-400E-8DF9-5480728022B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</TotalTime>
  <Words>91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4" baseType="lpstr">
      <vt:lpstr>ＭＳ Ｐゴシック</vt:lpstr>
      <vt:lpstr>Arial</vt:lpstr>
      <vt:lpstr>Avenir LT Std 45 Book</vt:lpstr>
      <vt:lpstr>Calibri</vt:lpstr>
      <vt:lpstr>Calibri Light</vt:lpstr>
      <vt:lpstr>Courier New</vt:lpstr>
      <vt:lpstr>Franklin Gothic Book</vt:lpstr>
      <vt:lpstr>Franklin Gothic Medium</vt:lpstr>
      <vt:lpstr>Segoe UI</vt:lpstr>
      <vt:lpstr>Wingdings</vt:lpstr>
      <vt:lpstr>EERE PPT_widescreen</vt:lpstr>
      <vt:lpstr>1_EERE PPT</vt:lpstr>
      <vt:lpstr>think-cell Slide</vt:lpstr>
      <vt:lpstr>Team Na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, Local Government, and Community Strategy and Implementation</dc:title>
  <dc:creator>Carolyn Snyder</dc:creator>
  <cp:lastModifiedBy>Alberg, Jeanette</cp:lastModifiedBy>
  <cp:revision>5</cp:revision>
  <dcterms:created xsi:type="dcterms:W3CDTF">2021-11-15T00:59:02Z</dcterms:created>
  <dcterms:modified xsi:type="dcterms:W3CDTF">2024-03-12T12:1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CF907BDE7AA548A594F918714AF44E</vt:lpwstr>
  </property>
  <property fmtid="{D5CDD505-2E9C-101B-9397-08002B2CF9AE}" pid="3" name="MediaServiceImageTags">
    <vt:lpwstr/>
  </property>
  <property fmtid="{D5CDD505-2E9C-101B-9397-08002B2CF9AE}" pid="4" name="MSIP_Label_95965d95-ecc0-4720-b759-1f33c42ed7da_Enabled">
    <vt:lpwstr>true</vt:lpwstr>
  </property>
  <property fmtid="{D5CDD505-2E9C-101B-9397-08002B2CF9AE}" pid="5" name="MSIP_Label_95965d95-ecc0-4720-b759-1f33c42ed7da_SetDate">
    <vt:lpwstr>2024-03-12T12:16:22Z</vt:lpwstr>
  </property>
  <property fmtid="{D5CDD505-2E9C-101B-9397-08002B2CF9AE}" pid="6" name="MSIP_Label_95965d95-ecc0-4720-b759-1f33c42ed7da_Method">
    <vt:lpwstr>Standard</vt:lpwstr>
  </property>
  <property fmtid="{D5CDD505-2E9C-101B-9397-08002B2CF9AE}" pid="7" name="MSIP_Label_95965d95-ecc0-4720-b759-1f33c42ed7da_Name">
    <vt:lpwstr>General</vt:lpwstr>
  </property>
  <property fmtid="{D5CDD505-2E9C-101B-9397-08002B2CF9AE}" pid="8" name="MSIP_Label_95965d95-ecc0-4720-b759-1f33c42ed7da_SiteId">
    <vt:lpwstr>a0f29d7e-28cd-4f54-8442-7885aee7c080</vt:lpwstr>
  </property>
  <property fmtid="{D5CDD505-2E9C-101B-9397-08002B2CF9AE}" pid="9" name="MSIP_Label_95965d95-ecc0-4720-b759-1f33c42ed7da_ActionId">
    <vt:lpwstr>b58feb15-b815-46cb-898c-e9ebc810d377</vt:lpwstr>
  </property>
  <property fmtid="{D5CDD505-2E9C-101B-9397-08002B2CF9AE}" pid="10" name="MSIP_Label_95965d95-ecc0-4720-b759-1f33c42ed7da_ContentBits">
    <vt:lpwstr>0</vt:lpwstr>
  </property>
</Properties>
</file>